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2"/>
  </p:notesMasterIdLst>
  <p:sldIdLst>
    <p:sldId id="266" r:id="rId2"/>
    <p:sldId id="265" r:id="rId3"/>
    <p:sldId id="267" r:id="rId4"/>
    <p:sldId id="268" r:id="rId5"/>
    <p:sldId id="269" r:id="rId6"/>
    <p:sldId id="275" r:id="rId7"/>
    <p:sldId id="270" r:id="rId8"/>
    <p:sldId id="271" r:id="rId9"/>
    <p:sldId id="272" r:id="rId10"/>
    <p:sldId id="274" r:id="rId11"/>
    <p:sldId id="273" r:id="rId12"/>
    <p:sldId id="256" r:id="rId13"/>
    <p:sldId id="257" r:id="rId14"/>
    <p:sldId id="263" r:id="rId15"/>
    <p:sldId id="262" r:id="rId16"/>
    <p:sldId id="258" r:id="rId17"/>
    <p:sldId id="259" r:id="rId18"/>
    <p:sldId id="264" r:id="rId19"/>
    <p:sldId id="260" r:id="rId20"/>
    <p:sldId id="261" r:id="rId21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30D7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Designformatvorlage 1 - Akz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93D81CF-94F2-401A-BA57-92F5A7B2D0C5}" styleName="Mittlere Formatvorlag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3024" autoAdjust="0"/>
    <p:restoredTop sz="94660"/>
  </p:normalViewPr>
  <p:slideViewPr>
    <p:cSldViewPr snapToGrid="0">
      <p:cViewPr varScale="1">
        <p:scale>
          <a:sx n="92" d="100"/>
          <a:sy n="92" d="100"/>
        </p:scale>
        <p:origin x="114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/Relationships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image" Target="../media/image5.png"/></Relationships>
</file>

<file path=ppt/diagram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5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20A0728-273C-44AD-96CB-061B84C982CD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08FDD419-7303-4156-836A-AD0A01992812}">
      <dgm:prSet phldrT="[Text]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rgbClr val="E30D7B"/>
        </a:solidFill>
      </dgm:spPr>
      <dgm:t>
        <a:bodyPr/>
        <a:lstStyle/>
        <a:p>
          <a:r>
            <a:rPr lang="de-DE" dirty="0" smtClean="0">
              <a:solidFill>
                <a:schemeClr val="tx1">
                  <a:lumMod val="50000"/>
                </a:schemeClr>
              </a:solidFill>
            </a:rPr>
            <a:t>Spiel-Entwicklung</a:t>
          </a:r>
          <a:endParaRPr lang="de-DE" dirty="0">
            <a:solidFill>
              <a:schemeClr val="tx1">
                <a:lumMod val="50000"/>
              </a:schemeClr>
            </a:solidFill>
          </a:endParaRPr>
        </a:p>
      </dgm:t>
    </dgm:pt>
    <dgm:pt modelId="{50A01639-F6FF-4FDA-BFEA-ED5A7353E220}" type="parTrans" cxnId="{05181C2B-139E-4752-8ACA-106F9EC7C41B}">
      <dgm:prSet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/>
      <dgm:t>
        <a:bodyPr/>
        <a:lstStyle/>
        <a:p>
          <a:endParaRPr lang="de-DE">
            <a:solidFill>
              <a:schemeClr val="tx1">
                <a:lumMod val="50000"/>
              </a:schemeClr>
            </a:solidFill>
          </a:endParaRPr>
        </a:p>
      </dgm:t>
    </dgm:pt>
    <dgm:pt modelId="{749B6F63-1ECE-4BAB-9381-5CCA355A1AA6}" type="sibTrans" cxnId="{05181C2B-139E-4752-8ACA-106F9EC7C41B}">
      <dgm:prSet/>
      <dgm:spPr/>
      <dgm:t>
        <a:bodyPr/>
        <a:lstStyle/>
        <a:p>
          <a:endParaRPr lang="de-DE"/>
        </a:p>
      </dgm:t>
    </dgm:pt>
    <dgm:pt modelId="{89B76E99-12D1-45C1-97FF-39AC6FF470AB}">
      <dgm:prSet phldrT="[Text]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chemeClr val="tx1">
            <a:lumMod val="40000"/>
            <a:lumOff val="60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>
                  <a:lumMod val="50000"/>
                </a:schemeClr>
              </a:solidFill>
            </a:rPr>
            <a:t>Website und Webserver</a:t>
          </a:r>
          <a:endParaRPr lang="de-DE" dirty="0">
            <a:solidFill>
              <a:schemeClr val="tx1">
                <a:lumMod val="50000"/>
              </a:schemeClr>
            </a:solidFill>
          </a:endParaRPr>
        </a:p>
      </dgm:t>
    </dgm:pt>
    <dgm:pt modelId="{B3EF2A46-F9F2-4FED-A9B2-F60785FE2DC1}" type="parTrans" cxnId="{6C0748F2-10BD-4F7F-9F8B-42846020F411}">
      <dgm:prSet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/>
      <dgm:t>
        <a:bodyPr/>
        <a:lstStyle/>
        <a:p>
          <a:endParaRPr lang="de-DE">
            <a:solidFill>
              <a:schemeClr val="tx1">
                <a:lumMod val="50000"/>
              </a:schemeClr>
            </a:solidFill>
          </a:endParaRPr>
        </a:p>
      </dgm:t>
    </dgm:pt>
    <dgm:pt modelId="{EBA3DFC0-BFDA-4FCA-B505-021ABD036D19}" type="sibTrans" cxnId="{6C0748F2-10BD-4F7F-9F8B-42846020F411}">
      <dgm:prSet/>
      <dgm:spPr/>
      <dgm:t>
        <a:bodyPr/>
        <a:lstStyle/>
        <a:p>
          <a:endParaRPr lang="de-DE"/>
        </a:p>
      </dgm:t>
    </dgm:pt>
    <dgm:pt modelId="{8F70121C-F511-47E6-849F-AF4C2C53768E}">
      <dgm:prSet phldrT="[Text]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rgbClr val="E30D7B"/>
        </a:solidFill>
      </dgm:spPr>
      <dgm:t>
        <a:bodyPr/>
        <a:lstStyle/>
        <a:p>
          <a:r>
            <a:rPr lang="de-DE" dirty="0" smtClean="0">
              <a:solidFill>
                <a:schemeClr val="tx1">
                  <a:lumMod val="50000"/>
                </a:schemeClr>
              </a:solidFill>
            </a:rPr>
            <a:t>Projektleiter</a:t>
          </a:r>
          <a:endParaRPr lang="de-DE" dirty="0">
            <a:solidFill>
              <a:schemeClr val="tx1">
                <a:lumMod val="50000"/>
              </a:schemeClr>
            </a:solidFill>
          </a:endParaRPr>
        </a:p>
      </dgm:t>
    </dgm:pt>
    <dgm:pt modelId="{97CABF7C-EB22-4339-AC6A-E3256EC68C8F}" type="parTrans" cxnId="{99729F90-253F-426E-AFB9-28713EE8BDD8}">
      <dgm:prSet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/>
      <dgm:t>
        <a:bodyPr/>
        <a:lstStyle/>
        <a:p>
          <a:endParaRPr lang="de-DE">
            <a:solidFill>
              <a:schemeClr val="tx1">
                <a:lumMod val="50000"/>
              </a:schemeClr>
            </a:solidFill>
          </a:endParaRPr>
        </a:p>
      </dgm:t>
    </dgm:pt>
    <dgm:pt modelId="{DC96996E-56D7-4749-93AD-A806A94069A1}" type="sibTrans" cxnId="{99729F90-253F-426E-AFB9-28713EE8BDD8}">
      <dgm:prSet/>
      <dgm:spPr/>
      <dgm:t>
        <a:bodyPr/>
        <a:lstStyle/>
        <a:p>
          <a:endParaRPr lang="de-DE"/>
        </a:p>
      </dgm:t>
    </dgm:pt>
    <dgm:pt modelId="{98E5F2B4-C50A-4F2C-81CD-3970027DC648}">
      <dgm:prSet phldrT="[Text]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rgbClr val="E30D7B"/>
        </a:solidFill>
      </dgm:spPr>
      <dgm:t>
        <a:bodyPr/>
        <a:lstStyle/>
        <a:p>
          <a:r>
            <a:rPr lang="de-DE" dirty="0" smtClean="0">
              <a:solidFill>
                <a:schemeClr val="tx1">
                  <a:lumMod val="50000"/>
                </a:schemeClr>
              </a:solidFill>
            </a:rPr>
            <a:t>Grafik- / Sounddesign</a:t>
          </a:r>
          <a:endParaRPr lang="de-DE" dirty="0">
            <a:solidFill>
              <a:schemeClr val="tx1">
                <a:lumMod val="50000"/>
              </a:schemeClr>
            </a:solidFill>
          </a:endParaRPr>
        </a:p>
      </dgm:t>
    </dgm:pt>
    <dgm:pt modelId="{CB824D2A-0787-4D7E-B93D-B54E91004246}" type="parTrans" cxnId="{007C0DA7-55E6-4DDC-A09D-273D40FB9C8D}">
      <dgm:prSet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/>
      <dgm:t>
        <a:bodyPr/>
        <a:lstStyle/>
        <a:p>
          <a:endParaRPr lang="de-DE">
            <a:solidFill>
              <a:schemeClr val="tx1">
                <a:lumMod val="50000"/>
              </a:schemeClr>
            </a:solidFill>
          </a:endParaRPr>
        </a:p>
      </dgm:t>
    </dgm:pt>
    <dgm:pt modelId="{FD870EAF-8A88-4C7C-A0CA-20C367054CEB}" type="sibTrans" cxnId="{007C0DA7-55E6-4DDC-A09D-273D40FB9C8D}">
      <dgm:prSet/>
      <dgm:spPr/>
      <dgm:t>
        <a:bodyPr/>
        <a:lstStyle/>
        <a:p>
          <a:endParaRPr lang="de-DE"/>
        </a:p>
      </dgm:t>
    </dgm:pt>
    <dgm:pt modelId="{AA929FFB-AA8F-4389-AF62-DEFE5CBE3E54}">
      <dgm:prSet phldrT="[Text]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rgbClr val="E30D7B"/>
        </a:solidFill>
      </dgm:spPr>
      <dgm:t>
        <a:bodyPr/>
        <a:lstStyle/>
        <a:p>
          <a:r>
            <a:rPr lang="de-DE" dirty="0" err="1" smtClean="0">
              <a:solidFill>
                <a:schemeClr val="tx1">
                  <a:lumMod val="50000"/>
                </a:schemeClr>
              </a:solidFill>
            </a:rPr>
            <a:t>Leveldesign</a:t>
          </a:r>
          <a:endParaRPr lang="de-DE" dirty="0">
            <a:solidFill>
              <a:schemeClr val="tx1">
                <a:lumMod val="50000"/>
              </a:schemeClr>
            </a:solidFill>
          </a:endParaRPr>
        </a:p>
      </dgm:t>
    </dgm:pt>
    <dgm:pt modelId="{28717054-EDCE-4501-858B-BDA20B603901}" type="parTrans" cxnId="{CA6CC62F-8F41-4A47-B877-42241466F1AF}">
      <dgm:prSet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/>
      <dgm:t>
        <a:bodyPr/>
        <a:lstStyle/>
        <a:p>
          <a:endParaRPr lang="de-DE">
            <a:solidFill>
              <a:schemeClr val="tx1">
                <a:lumMod val="50000"/>
              </a:schemeClr>
            </a:solidFill>
          </a:endParaRPr>
        </a:p>
      </dgm:t>
    </dgm:pt>
    <dgm:pt modelId="{840ACB64-02B5-41C0-B66D-9672E0F537AD}" type="sibTrans" cxnId="{CA6CC62F-8F41-4A47-B877-42241466F1AF}">
      <dgm:prSet/>
      <dgm:spPr/>
      <dgm:t>
        <a:bodyPr/>
        <a:lstStyle/>
        <a:p>
          <a:endParaRPr lang="de-DE"/>
        </a:p>
      </dgm:t>
    </dgm:pt>
    <dgm:pt modelId="{907C4C9C-578D-4DB5-83A7-0557CD0AF1F8}">
      <dgm:prSet phldrT="[Text]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rgbClr val="E30D7B"/>
        </a:solidFill>
      </dgm:spPr>
      <dgm:t>
        <a:bodyPr/>
        <a:lstStyle/>
        <a:p>
          <a:r>
            <a:rPr lang="de-DE" dirty="0" smtClean="0">
              <a:solidFill>
                <a:schemeClr val="tx1">
                  <a:lumMod val="50000"/>
                </a:schemeClr>
              </a:solidFill>
            </a:rPr>
            <a:t>Entwickler</a:t>
          </a:r>
          <a:endParaRPr lang="de-DE" dirty="0">
            <a:solidFill>
              <a:schemeClr val="tx1">
                <a:lumMod val="50000"/>
              </a:schemeClr>
            </a:solidFill>
          </a:endParaRPr>
        </a:p>
      </dgm:t>
    </dgm:pt>
    <dgm:pt modelId="{227D54F5-963F-4E0D-B889-8DC8FE7AE477}" type="parTrans" cxnId="{030776FA-29EE-46A6-93D8-C7215034CAA9}">
      <dgm:prSet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/>
      <dgm:t>
        <a:bodyPr/>
        <a:lstStyle/>
        <a:p>
          <a:endParaRPr lang="de-DE">
            <a:solidFill>
              <a:schemeClr val="tx1">
                <a:lumMod val="50000"/>
              </a:schemeClr>
            </a:solidFill>
          </a:endParaRPr>
        </a:p>
      </dgm:t>
    </dgm:pt>
    <dgm:pt modelId="{FAE7C233-4302-4A0F-9C58-37DC8E0C3BE7}" type="sibTrans" cxnId="{030776FA-29EE-46A6-93D8-C7215034CAA9}">
      <dgm:prSet/>
      <dgm:spPr/>
      <dgm:t>
        <a:bodyPr/>
        <a:lstStyle/>
        <a:p>
          <a:endParaRPr lang="de-DE"/>
        </a:p>
      </dgm:t>
    </dgm:pt>
    <dgm:pt modelId="{E0F3A40B-51FA-455F-8F69-7499B4E9E8AA}">
      <dgm:prSet phldrT="[Text]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chemeClr val="bg2">
            <a:lumMod val="85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>
                  <a:lumMod val="50000"/>
                </a:schemeClr>
              </a:solidFill>
            </a:rPr>
            <a:t>TB</a:t>
          </a:r>
          <a:endParaRPr lang="de-DE" dirty="0">
            <a:solidFill>
              <a:schemeClr val="tx1">
                <a:lumMod val="50000"/>
              </a:schemeClr>
            </a:solidFill>
          </a:endParaRPr>
        </a:p>
      </dgm:t>
    </dgm:pt>
    <dgm:pt modelId="{8414DD9A-7326-4E32-988F-5D7E352F222A}" type="parTrans" cxnId="{8583D4FB-7730-469A-8F1F-BAE7EB869ECF}">
      <dgm:prSet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/>
      <dgm:t>
        <a:bodyPr/>
        <a:lstStyle/>
        <a:p>
          <a:endParaRPr lang="de-DE">
            <a:solidFill>
              <a:schemeClr val="tx1">
                <a:lumMod val="50000"/>
              </a:schemeClr>
            </a:solidFill>
          </a:endParaRPr>
        </a:p>
      </dgm:t>
    </dgm:pt>
    <dgm:pt modelId="{87667A67-97E6-4C7A-84C1-D50559865530}" type="sibTrans" cxnId="{8583D4FB-7730-469A-8F1F-BAE7EB869ECF}">
      <dgm:prSet/>
      <dgm:spPr/>
      <dgm:t>
        <a:bodyPr/>
        <a:lstStyle/>
        <a:p>
          <a:endParaRPr lang="de-DE"/>
        </a:p>
      </dgm:t>
    </dgm:pt>
    <dgm:pt modelId="{3DD57B6C-FA23-45AF-A53A-B77470F98BA3}">
      <dgm:prSet phldrT="[Text]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chemeClr val="bg2">
            <a:lumMod val="85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>
                  <a:lumMod val="50000"/>
                </a:schemeClr>
              </a:solidFill>
            </a:rPr>
            <a:t>TB, JG</a:t>
          </a:r>
          <a:endParaRPr lang="de-DE" dirty="0">
            <a:solidFill>
              <a:schemeClr val="tx1">
                <a:lumMod val="50000"/>
              </a:schemeClr>
            </a:solidFill>
          </a:endParaRPr>
        </a:p>
      </dgm:t>
    </dgm:pt>
    <dgm:pt modelId="{DCE10D90-55F8-4F51-8128-A9A1201FE70E}" type="parTrans" cxnId="{292E4875-6535-458C-BC97-FD831C489083}">
      <dgm:prSet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/>
      <dgm:t>
        <a:bodyPr/>
        <a:lstStyle/>
        <a:p>
          <a:endParaRPr lang="de-DE">
            <a:solidFill>
              <a:schemeClr val="tx1">
                <a:lumMod val="50000"/>
              </a:schemeClr>
            </a:solidFill>
          </a:endParaRPr>
        </a:p>
      </dgm:t>
    </dgm:pt>
    <dgm:pt modelId="{C1B64C16-5280-4072-9B87-04D13C72A323}" type="sibTrans" cxnId="{292E4875-6535-458C-BC97-FD831C489083}">
      <dgm:prSet/>
      <dgm:spPr/>
      <dgm:t>
        <a:bodyPr/>
        <a:lstStyle/>
        <a:p>
          <a:endParaRPr lang="de-DE"/>
        </a:p>
      </dgm:t>
    </dgm:pt>
    <dgm:pt modelId="{0F324C2B-F415-428D-8824-9605D45C9ABF}">
      <dgm:prSet phldrT="[Text]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rgbClr val="E30D7B"/>
        </a:solidFill>
      </dgm:spPr>
      <dgm:t>
        <a:bodyPr/>
        <a:lstStyle/>
        <a:p>
          <a:r>
            <a:rPr lang="de-DE" dirty="0" smtClean="0">
              <a:solidFill>
                <a:schemeClr val="tx1">
                  <a:lumMod val="50000"/>
                </a:schemeClr>
              </a:solidFill>
            </a:rPr>
            <a:t>Dokumentation</a:t>
          </a:r>
          <a:endParaRPr lang="de-DE" dirty="0">
            <a:solidFill>
              <a:schemeClr val="tx1">
                <a:lumMod val="50000"/>
              </a:schemeClr>
            </a:solidFill>
          </a:endParaRPr>
        </a:p>
      </dgm:t>
    </dgm:pt>
    <dgm:pt modelId="{A88F2B6F-6C92-4989-8A59-AE9F95CBABD4}" type="parTrans" cxnId="{FCDBE2FD-4DF9-4100-A9C3-827B503F3C9D}">
      <dgm:prSet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/>
      <dgm:t>
        <a:bodyPr/>
        <a:lstStyle/>
        <a:p>
          <a:endParaRPr lang="de-DE">
            <a:solidFill>
              <a:schemeClr val="tx1">
                <a:lumMod val="50000"/>
              </a:schemeClr>
            </a:solidFill>
          </a:endParaRPr>
        </a:p>
      </dgm:t>
    </dgm:pt>
    <dgm:pt modelId="{ADDF8941-2398-40B5-8A12-FD1575A8D4A3}" type="sibTrans" cxnId="{FCDBE2FD-4DF9-4100-A9C3-827B503F3C9D}">
      <dgm:prSet/>
      <dgm:spPr/>
      <dgm:t>
        <a:bodyPr/>
        <a:lstStyle/>
        <a:p>
          <a:endParaRPr lang="de-DE"/>
        </a:p>
      </dgm:t>
    </dgm:pt>
    <dgm:pt modelId="{9D16D98A-5BCB-47EF-8F04-FC30A946F942}">
      <dgm:prSet phldrT="[Text]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chemeClr val="bg2">
            <a:lumMod val="85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>
                  <a:lumMod val="50000"/>
                </a:schemeClr>
              </a:solidFill>
            </a:rPr>
            <a:t>KW, TB</a:t>
          </a:r>
          <a:endParaRPr lang="de-DE" dirty="0">
            <a:solidFill>
              <a:schemeClr val="tx1">
                <a:lumMod val="50000"/>
              </a:schemeClr>
            </a:solidFill>
          </a:endParaRPr>
        </a:p>
      </dgm:t>
    </dgm:pt>
    <dgm:pt modelId="{F83FD9DC-C01D-42C7-95E0-3F92951B362F}" type="parTrans" cxnId="{2A06D889-AE35-4685-8025-BE6E10850671}">
      <dgm:prSet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/>
      <dgm:t>
        <a:bodyPr/>
        <a:lstStyle/>
        <a:p>
          <a:endParaRPr lang="de-DE">
            <a:solidFill>
              <a:schemeClr val="tx1">
                <a:lumMod val="50000"/>
              </a:schemeClr>
            </a:solidFill>
          </a:endParaRPr>
        </a:p>
      </dgm:t>
    </dgm:pt>
    <dgm:pt modelId="{00A2B42D-8380-4CBB-9B41-4B4D20CE0911}" type="sibTrans" cxnId="{2A06D889-AE35-4685-8025-BE6E10850671}">
      <dgm:prSet/>
      <dgm:spPr/>
      <dgm:t>
        <a:bodyPr/>
        <a:lstStyle/>
        <a:p>
          <a:endParaRPr lang="de-DE"/>
        </a:p>
      </dgm:t>
    </dgm:pt>
    <dgm:pt modelId="{57B0F1E3-3798-44E7-A9C4-8EB920DDF258}">
      <dgm:prSet phldrT="[Text]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chemeClr val="bg2">
            <a:lumMod val="85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>
                  <a:lumMod val="50000"/>
                </a:schemeClr>
              </a:solidFill>
            </a:rPr>
            <a:t>TB, JG, DS, MK</a:t>
          </a:r>
          <a:endParaRPr lang="de-DE" dirty="0">
            <a:solidFill>
              <a:schemeClr val="tx1">
                <a:lumMod val="50000"/>
              </a:schemeClr>
            </a:solidFill>
          </a:endParaRPr>
        </a:p>
      </dgm:t>
    </dgm:pt>
    <dgm:pt modelId="{DE501175-107D-40A2-A354-18BE72A9CCC5}" type="parTrans" cxnId="{92EDC1C5-CA90-4AEC-89DB-2A93679F402B}">
      <dgm:prSet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/>
      <dgm:t>
        <a:bodyPr/>
        <a:lstStyle/>
        <a:p>
          <a:endParaRPr lang="de-DE">
            <a:solidFill>
              <a:schemeClr val="tx1">
                <a:lumMod val="50000"/>
              </a:schemeClr>
            </a:solidFill>
          </a:endParaRPr>
        </a:p>
      </dgm:t>
    </dgm:pt>
    <dgm:pt modelId="{74823E81-8B30-4120-A7AC-D233426A8323}" type="sibTrans" cxnId="{92EDC1C5-CA90-4AEC-89DB-2A93679F402B}">
      <dgm:prSet/>
      <dgm:spPr/>
      <dgm:t>
        <a:bodyPr/>
        <a:lstStyle/>
        <a:p>
          <a:endParaRPr lang="de-DE"/>
        </a:p>
      </dgm:t>
    </dgm:pt>
    <dgm:pt modelId="{D9627688-D46D-44B6-BE70-AA6A0B7C0F8E}">
      <dgm:prSet phldrT="[Text]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chemeClr val="bg2">
            <a:lumMod val="85000"/>
          </a:schemeClr>
        </a:solidFill>
      </dgm:spPr>
      <dgm:t>
        <a:bodyPr/>
        <a:lstStyle/>
        <a:p>
          <a:r>
            <a:rPr lang="de-DE" dirty="0" smtClean="0">
              <a:solidFill>
                <a:schemeClr val="tx1">
                  <a:lumMod val="50000"/>
                </a:schemeClr>
              </a:solidFill>
            </a:rPr>
            <a:t>MK, JG, KW</a:t>
          </a:r>
          <a:endParaRPr lang="de-DE" dirty="0">
            <a:solidFill>
              <a:schemeClr val="tx1">
                <a:lumMod val="50000"/>
              </a:schemeClr>
            </a:solidFill>
          </a:endParaRPr>
        </a:p>
      </dgm:t>
    </dgm:pt>
    <dgm:pt modelId="{282E1347-5E7C-41D4-9B5E-9B2467677B63}" type="parTrans" cxnId="{37F97C69-7BE3-4AE2-A632-48EEE9F9E93E}">
      <dgm:prSet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/>
      <dgm:t>
        <a:bodyPr/>
        <a:lstStyle/>
        <a:p>
          <a:endParaRPr lang="de-DE">
            <a:solidFill>
              <a:schemeClr val="tx1">
                <a:lumMod val="50000"/>
              </a:schemeClr>
            </a:solidFill>
          </a:endParaRPr>
        </a:p>
      </dgm:t>
    </dgm:pt>
    <dgm:pt modelId="{E7C2434B-21B2-445A-8D15-AE82023D3DDA}" type="sibTrans" cxnId="{37F97C69-7BE3-4AE2-A632-48EEE9F9E93E}">
      <dgm:prSet/>
      <dgm:spPr/>
      <dgm:t>
        <a:bodyPr/>
        <a:lstStyle/>
        <a:p>
          <a:endParaRPr lang="de-DE"/>
        </a:p>
      </dgm:t>
    </dgm:pt>
    <dgm:pt modelId="{F2AD282E-71B9-4E5E-9162-D36BAEFA7F91}">
      <dgm:prSet phldrT="[Text]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blipFill rotWithShape="0">
          <a:blip xmlns:r="http://schemas.openxmlformats.org/officeDocument/2006/relationships" r:embed="rId1"/>
          <a:stretch>
            <a:fillRect/>
          </a:stretch>
        </a:blipFill>
        <a:ln>
          <a:noFill/>
        </a:ln>
      </dgm:spPr>
      <dgm:t>
        <a:bodyPr/>
        <a:lstStyle/>
        <a:p>
          <a:endParaRPr lang="de-DE" dirty="0">
            <a:solidFill>
              <a:schemeClr val="tx1">
                <a:lumMod val="50000"/>
              </a:schemeClr>
            </a:solidFill>
          </a:endParaRPr>
        </a:p>
      </dgm:t>
    </dgm:pt>
    <dgm:pt modelId="{032A8AFE-EC02-4770-AAD0-35C5B18258CC}" type="parTrans" cxnId="{ED9852CE-CB03-4AD9-AD19-88F22606E8C8}">
      <dgm:prSet/>
      <dgm:spPr/>
      <dgm:t>
        <a:bodyPr/>
        <a:lstStyle/>
        <a:p>
          <a:endParaRPr lang="de-DE"/>
        </a:p>
      </dgm:t>
    </dgm:pt>
    <dgm:pt modelId="{B6612E57-875B-405B-BA65-0EF84C3C0FCE}" type="sibTrans" cxnId="{ED9852CE-CB03-4AD9-AD19-88F22606E8C8}">
      <dgm:prSet/>
      <dgm:spPr/>
      <dgm:t>
        <a:bodyPr/>
        <a:lstStyle/>
        <a:p>
          <a:endParaRPr lang="de-DE"/>
        </a:p>
      </dgm:t>
    </dgm:pt>
    <dgm:pt modelId="{9AB50AAE-63B6-4020-8E06-AE2489E1D7E7}" type="pres">
      <dgm:prSet presAssocID="{E20A0728-273C-44AD-96CB-061B84C982CD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51E3848A-BD05-4FE8-8DFF-DE5C9B376ADB}" type="pres">
      <dgm:prSet presAssocID="{F2AD282E-71B9-4E5E-9162-D36BAEFA7F91}" presName="hierRoot1" presStyleCnt="0">
        <dgm:presLayoutVars>
          <dgm:hierBranch val="init"/>
        </dgm:presLayoutVars>
      </dgm:prSet>
      <dgm:spPr/>
    </dgm:pt>
    <dgm:pt modelId="{21C9BB61-D892-456C-8506-3140500DDFA7}" type="pres">
      <dgm:prSet presAssocID="{F2AD282E-71B9-4E5E-9162-D36BAEFA7F91}" presName="rootComposite1" presStyleCnt="0"/>
      <dgm:spPr/>
    </dgm:pt>
    <dgm:pt modelId="{8ED4AB53-3BB7-46E8-B78B-88FF097A4407}" type="pres">
      <dgm:prSet presAssocID="{F2AD282E-71B9-4E5E-9162-D36BAEFA7F91}" presName="rootText1" presStyleLbl="node0" presStyleIdx="0" presStyleCnt="1" custScaleX="177813" custScaleY="167000">
        <dgm:presLayoutVars>
          <dgm:chPref val="3"/>
        </dgm:presLayoutVars>
      </dgm:prSet>
      <dgm:spPr/>
    </dgm:pt>
    <dgm:pt modelId="{6146E5F2-1D0D-434B-B495-9C6D310CD163}" type="pres">
      <dgm:prSet presAssocID="{F2AD282E-71B9-4E5E-9162-D36BAEFA7F91}" presName="rootConnector1" presStyleLbl="node1" presStyleIdx="0" presStyleCnt="0"/>
      <dgm:spPr/>
    </dgm:pt>
    <dgm:pt modelId="{784E6A4A-DBCD-4ADB-BBA5-2A4078DA905D}" type="pres">
      <dgm:prSet presAssocID="{F2AD282E-71B9-4E5E-9162-D36BAEFA7F91}" presName="hierChild2" presStyleCnt="0"/>
      <dgm:spPr/>
    </dgm:pt>
    <dgm:pt modelId="{6F539988-1513-4AC3-9836-91C776A937F7}" type="pres">
      <dgm:prSet presAssocID="{50A01639-F6FF-4FDA-BFEA-ED5A7353E220}" presName="Name37" presStyleLbl="parChTrans1D2" presStyleIdx="0" presStyleCnt="2"/>
      <dgm:spPr/>
    </dgm:pt>
    <dgm:pt modelId="{38FF866D-AE7E-4158-9EA1-91E352D566FF}" type="pres">
      <dgm:prSet presAssocID="{08FDD419-7303-4156-836A-AD0A01992812}" presName="hierRoot2" presStyleCnt="0">
        <dgm:presLayoutVars>
          <dgm:hierBranch val="init"/>
        </dgm:presLayoutVars>
      </dgm:prSet>
      <dgm:spPr/>
    </dgm:pt>
    <dgm:pt modelId="{B935113B-0B97-45A5-B0FA-B979BA1A58CF}" type="pres">
      <dgm:prSet presAssocID="{08FDD419-7303-4156-836A-AD0A01992812}" presName="rootComposite" presStyleCnt="0"/>
      <dgm:spPr/>
    </dgm:pt>
    <dgm:pt modelId="{BBBEE62D-A42E-456C-8D2E-BB3C59401898}" type="pres">
      <dgm:prSet presAssocID="{08FDD419-7303-4156-836A-AD0A01992812}" presName="rootText" presStyleLbl="node2" presStyleIdx="0" presStyleCnt="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F945D32-7CDA-4AAD-AB18-FA4E9BB9399E}" type="pres">
      <dgm:prSet presAssocID="{08FDD419-7303-4156-836A-AD0A01992812}" presName="rootConnector" presStyleLbl="node2" presStyleIdx="0" presStyleCnt="2"/>
      <dgm:spPr/>
    </dgm:pt>
    <dgm:pt modelId="{7BE6137E-0FF8-407D-AA6F-A68349DACCFE}" type="pres">
      <dgm:prSet presAssocID="{08FDD419-7303-4156-836A-AD0A01992812}" presName="hierChild4" presStyleCnt="0"/>
      <dgm:spPr/>
    </dgm:pt>
    <dgm:pt modelId="{17EDFC4E-631B-4080-BC57-8F9D18A93AA1}" type="pres">
      <dgm:prSet presAssocID="{97CABF7C-EB22-4339-AC6A-E3256EC68C8F}" presName="Name37" presStyleLbl="parChTrans1D3" presStyleIdx="0" presStyleCnt="5"/>
      <dgm:spPr/>
    </dgm:pt>
    <dgm:pt modelId="{4B08F523-1AA6-4F40-BBD2-B4A34DCDD549}" type="pres">
      <dgm:prSet presAssocID="{8F70121C-F511-47E6-849F-AF4C2C53768E}" presName="hierRoot2" presStyleCnt="0">
        <dgm:presLayoutVars>
          <dgm:hierBranch val="init"/>
        </dgm:presLayoutVars>
      </dgm:prSet>
      <dgm:spPr/>
    </dgm:pt>
    <dgm:pt modelId="{C035777A-AB84-4190-9F85-C6D63A2770DA}" type="pres">
      <dgm:prSet presAssocID="{8F70121C-F511-47E6-849F-AF4C2C53768E}" presName="rootComposite" presStyleCnt="0"/>
      <dgm:spPr/>
    </dgm:pt>
    <dgm:pt modelId="{E83BEE59-38E0-451B-9A3C-240CDA94DA03}" type="pres">
      <dgm:prSet presAssocID="{8F70121C-F511-47E6-849F-AF4C2C53768E}" presName="rootText" presStyleLbl="node3" presStyleIdx="0" presStyleCnt="5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195ED860-71EC-40BA-B115-3E4DA6F88114}" type="pres">
      <dgm:prSet presAssocID="{8F70121C-F511-47E6-849F-AF4C2C53768E}" presName="rootConnector" presStyleLbl="node3" presStyleIdx="0" presStyleCnt="5"/>
      <dgm:spPr/>
    </dgm:pt>
    <dgm:pt modelId="{AF4C3C7C-4C1C-46E7-93D9-E8BBCCAECD9D}" type="pres">
      <dgm:prSet presAssocID="{8F70121C-F511-47E6-849F-AF4C2C53768E}" presName="hierChild4" presStyleCnt="0"/>
      <dgm:spPr/>
    </dgm:pt>
    <dgm:pt modelId="{A2EF4654-453F-43E1-85B5-8AC798AEEBBB}" type="pres">
      <dgm:prSet presAssocID="{8414DD9A-7326-4E32-988F-5D7E352F222A}" presName="Name37" presStyleLbl="parChTrans1D4" presStyleIdx="0" presStyleCnt="5"/>
      <dgm:spPr/>
    </dgm:pt>
    <dgm:pt modelId="{C55E43DB-31A6-4267-A0DF-6A0FA97D4631}" type="pres">
      <dgm:prSet presAssocID="{E0F3A40B-51FA-455F-8F69-7499B4E9E8AA}" presName="hierRoot2" presStyleCnt="0">
        <dgm:presLayoutVars>
          <dgm:hierBranch val="init"/>
        </dgm:presLayoutVars>
      </dgm:prSet>
      <dgm:spPr/>
    </dgm:pt>
    <dgm:pt modelId="{85AB79BF-F28B-4F32-AA92-A5955A47BFC5}" type="pres">
      <dgm:prSet presAssocID="{E0F3A40B-51FA-455F-8F69-7499B4E9E8AA}" presName="rootComposite" presStyleCnt="0"/>
      <dgm:spPr/>
    </dgm:pt>
    <dgm:pt modelId="{E284F209-F047-442B-B10E-2C807B950F05}" type="pres">
      <dgm:prSet presAssocID="{E0F3A40B-51FA-455F-8F69-7499B4E9E8AA}" presName="rootText" presStyleLbl="node4" presStyleIdx="0" presStyleCnt="5" custScaleY="6720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CCCA51BB-AD11-4400-8510-AE8CB06D251C}" type="pres">
      <dgm:prSet presAssocID="{E0F3A40B-51FA-455F-8F69-7499B4E9E8AA}" presName="rootConnector" presStyleLbl="node4" presStyleIdx="0" presStyleCnt="5"/>
      <dgm:spPr/>
    </dgm:pt>
    <dgm:pt modelId="{CE598A90-BA30-4016-8FF4-EAF394034ED0}" type="pres">
      <dgm:prSet presAssocID="{E0F3A40B-51FA-455F-8F69-7499B4E9E8AA}" presName="hierChild4" presStyleCnt="0"/>
      <dgm:spPr/>
    </dgm:pt>
    <dgm:pt modelId="{1B390B9D-A46A-4123-9D09-EA8F5A8DAA5D}" type="pres">
      <dgm:prSet presAssocID="{E0F3A40B-51FA-455F-8F69-7499B4E9E8AA}" presName="hierChild5" presStyleCnt="0"/>
      <dgm:spPr/>
    </dgm:pt>
    <dgm:pt modelId="{DDD97CA7-F191-4BFA-BFCE-83A9E7F2AB12}" type="pres">
      <dgm:prSet presAssocID="{8F70121C-F511-47E6-849F-AF4C2C53768E}" presName="hierChild5" presStyleCnt="0"/>
      <dgm:spPr/>
    </dgm:pt>
    <dgm:pt modelId="{F17863FA-C62C-4146-8239-D4EA8251DF45}" type="pres">
      <dgm:prSet presAssocID="{227D54F5-963F-4E0D-B889-8DC8FE7AE477}" presName="Name37" presStyleLbl="parChTrans1D3" presStyleIdx="1" presStyleCnt="5"/>
      <dgm:spPr/>
    </dgm:pt>
    <dgm:pt modelId="{3A95F08A-D9E7-4C17-AB78-58FA8BC737CA}" type="pres">
      <dgm:prSet presAssocID="{907C4C9C-578D-4DB5-83A7-0557CD0AF1F8}" presName="hierRoot2" presStyleCnt="0">
        <dgm:presLayoutVars>
          <dgm:hierBranch val="init"/>
        </dgm:presLayoutVars>
      </dgm:prSet>
      <dgm:spPr/>
    </dgm:pt>
    <dgm:pt modelId="{625EA4D1-5FFA-419A-B1C5-7541384D44FF}" type="pres">
      <dgm:prSet presAssocID="{907C4C9C-578D-4DB5-83A7-0557CD0AF1F8}" presName="rootComposite" presStyleCnt="0"/>
      <dgm:spPr/>
    </dgm:pt>
    <dgm:pt modelId="{DD96F2ED-B680-4BD1-94E0-AC7583122C46}" type="pres">
      <dgm:prSet presAssocID="{907C4C9C-578D-4DB5-83A7-0557CD0AF1F8}" presName="rootText" presStyleLbl="node3" presStyleIdx="1" presStyleCnt="5">
        <dgm:presLayoutVars>
          <dgm:chPref val="3"/>
        </dgm:presLayoutVars>
      </dgm:prSet>
      <dgm:spPr/>
    </dgm:pt>
    <dgm:pt modelId="{615A066F-3081-43BA-B768-2CDD1B3EEA1C}" type="pres">
      <dgm:prSet presAssocID="{907C4C9C-578D-4DB5-83A7-0557CD0AF1F8}" presName="rootConnector" presStyleLbl="node3" presStyleIdx="1" presStyleCnt="5"/>
      <dgm:spPr/>
    </dgm:pt>
    <dgm:pt modelId="{B556306A-084A-4CCC-ABAC-10E67F5A5E20}" type="pres">
      <dgm:prSet presAssocID="{907C4C9C-578D-4DB5-83A7-0557CD0AF1F8}" presName="hierChild4" presStyleCnt="0"/>
      <dgm:spPr/>
    </dgm:pt>
    <dgm:pt modelId="{5C261296-8F83-4F8E-BED1-E4BFA8C4E852}" type="pres">
      <dgm:prSet presAssocID="{DCE10D90-55F8-4F51-8128-A9A1201FE70E}" presName="Name37" presStyleLbl="parChTrans1D4" presStyleIdx="1" presStyleCnt="5"/>
      <dgm:spPr/>
    </dgm:pt>
    <dgm:pt modelId="{29D0E520-9CD3-4BB6-BE54-025AE7206B94}" type="pres">
      <dgm:prSet presAssocID="{3DD57B6C-FA23-45AF-A53A-B77470F98BA3}" presName="hierRoot2" presStyleCnt="0">
        <dgm:presLayoutVars>
          <dgm:hierBranch val="init"/>
        </dgm:presLayoutVars>
      </dgm:prSet>
      <dgm:spPr/>
    </dgm:pt>
    <dgm:pt modelId="{83498B0A-84B3-4C0C-BF63-17CE18ED129A}" type="pres">
      <dgm:prSet presAssocID="{3DD57B6C-FA23-45AF-A53A-B77470F98BA3}" presName="rootComposite" presStyleCnt="0"/>
      <dgm:spPr/>
    </dgm:pt>
    <dgm:pt modelId="{A8A048B2-63B3-4CD9-8773-D0959158F9D7}" type="pres">
      <dgm:prSet presAssocID="{3DD57B6C-FA23-45AF-A53A-B77470F98BA3}" presName="rootText" presStyleLbl="node4" presStyleIdx="1" presStyleCnt="5" custScaleY="6720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1A81FF6D-A0BB-43B9-BB4A-D897344A0511}" type="pres">
      <dgm:prSet presAssocID="{3DD57B6C-FA23-45AF-A53A-B77470F98BA3}" presName="rootConnector" presStyleLbl="node4" presStyleIdx="1" presStyleCnt="5"/>
      <dgm:spPr/>
    </dgm:pt>
    <dgm:pt modelId="{676B4F92-8A21-4E4C-BC2F-61E908211D8D}" type="pres">
      <dgm:prSet presAssocID="{3DD57B6C-FA23-45AF-A53A-B77470F98BA3}" presName="hierChild4" presStyleCnt="0"/>
      <dgm:spPr/>
    </dgm:pt>
    <dgm:pt modelId="{B67F7274-DE5A-4588-822B-F6FFC248C45E}" type="pres">
      <dgm:prSet presAssocID="{3DD57B6C-FA23-45AF-A53A-B77470F98BA3}" presName="hierChild5" presStyleCnt="0"/>
      <dgm:spPr/>
    </dgm:pt>
    <dgm:pt modelId="{D046147C-E165-4745-999E-1B5C869A84EC}" type="pres">
      <dgm:prSet presAssocID="{907C4C9C-578D-4DB5-83A7-0557CD0AF1F8}" presName="hierChild5" presStyleCnt="0"/>
      <dgm:spPr/>
    </dgm:pt>
    <dgm:pt modelId="{1E4C90C0-C486-40D7-8AD0-01D437E3F1E6}" type="pres">
      <dgm:prSet presAssocID="{CB824D2A-0787-4D7E-B93D-B54E91004246}" presName="Name37" presStyleLbl="parChTrans1D3" presStyleIdx="2" presStyleCnt="5"/>
      <dgm:spPr/>
    </dgm:pt>
    <dgm:pt modelId="{2031E797-50E0-45DA-9CE6-D9E7BECA3B27}" type="pres">
      <dgm:prSet presAssocID="{98E5F2B4-C50A-4F2C-81CD-3970027DC648}" presName="hierRoot2" presStyleCnt="0">
        <dgm:presLayoutVars>
          <dgm:hierBranch val="init"/>
        </dgm:presLayoutVars>
      </dgm:prSet>
      <dgm:spPr/>
    </dgm:pt>
    <dgm:pt modelId="{295CBDAB-887B-46EE-BCCD-AF928EF09BF0}" type="pres">
      <dgm:prSet presAssocID="{98E5F2B4-C50A-4F2C-81CD-3970027DC648}" presName="rootComposite" presStyleCnt="0"/>
      <dgm:spPr/>
    </dgm:pt>
    <dgm:pt modelId="{1DC4EA10-C7EA-48F8-8B93-1DAA6127AF52}" type="pres">
      <dgm:prSet presAssocID="{98E5F2B4-C50A-4F2C-81CD-3970027DC648}" presName="rootText" presStyleLbl="node3" presStyleIdx="2" presStyleCnt="5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DEF78D0B-2F91-4D2F-9BE8-6956A05D860C}" type="pres">
      <dgm:prSet presAssocID="{98E5F2B4-C50A-4F2C-81CD-3970027DC648}" presName="rootConnector" presStyleLbl="node3" presStyleIdx="2" presStyleCnt="5"/>
      <dgm:spPr/>
    </dgm:pt>
    <dgm:pt modelId="{C0ACDF58-1915-45DB-B3B2-AC8FCA3519E7}" type="pres">
      <dgm:prSet presAssocID="{98E5F2B4-C50A-4F2C-81CD-3970027DC648}" presName="hierChild4" presStyleCnt="0"/>
      <dgm:spPr/>
    </dgm:pt>
    <dgm:pt modelId="{7F66A34E-DAB1-45D2-91C0-F1C240313E9A}" type="pres">
      <dgm:prSet presAssocID="{282E1347-5E7C-41D4-9B5E-9B2467677B63}" presName="Name37" presStyleLbl="parChTrans1D4" presStyleIdx="2" presStyleCnt="5"/>
      <dgm:spPr/>
    </dgm:pt>
    <dgm:pt modelId="{40E998C3-7833-4AAC-8CDA-D45B21A3B968}" type="pres">
      <dgm:prSet presAssocID="{D9627688-D46D-44B6-BE70-AA6A0B7C0F8E}" presName="hierRoot2" presStyleCnt="0">
        <dgm:presLayoutVars>
          <dgm:hierBranch val="init"/>
        </dgm:presLayoutVars>
      </dgm:prSet>
      <dgm:spPr/>
    </dgm:pt>
    <dgm:pt modelId="{AD847F26-FC24-4301-A011-16CC31A71559}" type="pres">
      <dgm:prSet presAssocID="{D9627688-D46D-44B6-BE70-AA6A0B7C0F8E}" presName="rootComposite" presStyleCnt="0"/>
      <dgm:spPr/>
    </dgm:pt>
    <dgm:pt modelId="{76739D7E-582D-4460-BCBA-3126E6BACF14}" type="pres">
      <dgm:prSet presAssocID="{D9627688-D46D-44B6-BE70-AA6A0B7C0F8E}" presName="rootText" presStyleLbl="node4" presStyleIdx="2" presStyleCnt="5" custScaleY="6720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C0376B8-591D-4D5A-B18B-D3739D0ABABD}" type="pres">
      <dgm:prSet presAssocID="{D9627688-D46D-44B6-BE70-AA6A0B7C0F8E}" presName="rootConnector" presStyleLbl="node4" presStyleIdx="2" presStyleCnt="5"/>
      <dgm:spPr/>
    </dgm:pt>
    <dgm:pt modelId="{3386001A-1B18-4579-822D-9ADD0511CC42}" type="pres">
      <dgm:prSet presAssocID="{D9627688-D46D-44B6-BE70-AA6A0B7C0F8E}" presName="hierChild4" presStyleCnt="0"/>
      <dgm:spPr/>
    </dgm:pt>
    <dgm:pt modelId="{26AE424E-612F-4FA2-ABC7-89D9D421A6D8}" type="pres">
      <dgm:prSet presAssocID="{D9627688-D46D-44B6-BE70-AA6A0B7C0F8E}" presName="hierChild5" presStyleCnt="0"/>
      <dgm:spPr/>
    </dgm:pt>
    <dgm:pt modelId="{7CA97AA6-1E32-4648-86DD-B198FD9FDF61}" type="pres">
      <dgm:prSet presAssocID="{98E5F2B4-C50A-4F2C-81CD-3970027DC648}" presName="hierChild5" presStyleCnt="0"/>
      <dgm:spPr/>
    </dgm:pt>
    <dgm:pt modelId="{3504AD66-3E99-404C-8BD4-FFF43ACB32FB}" type="pres">
      <dgm:prSet presAssocID="{28717054-EDCE-4501-858B-BDA20B603901}" presName="Name37" presStyleLbl="parChTrans1D3" presStyleIdx="3" presStyleCnt="5"/>
      <dgm:spPr/>
    </dgm:pt>
    <dgm:pt modelId="{A32F077C-1479-4B29-9A28-ECC4BCC65709}" type="pres">
      <dgm:prSet presAssocID="{AA929FFB-AA8F-4389-AF62-DEFE5CBE3E54}" presName="hierRoot2" presStyleCnt="0">
        <dgm:presLayoutVars>
          <dgm:hierBranch val="init"/>
        </dgm:presLayoutVars>
      </dgm:prSet>
      <dgm:spPr/>
    </dgm:pt>
    <dgm:pt modelId="{D65A2CB1-F491-462B-9B33-80606E65B8DE}" type="pres">
      <dgm:prSet presAssocID="{AA929FFB-AA8F-4389-AF62-DEFE5CBE3E54}" presName="rootComposite" presStyleCnt="0"/>
      <dgm:spPr/>
    </dgm:pt>
    <dgm:pt modelId="{50070A1E-CAE4-4FE8-8529-4BFC5C9295E2}" type="pres">
      <dgm:prSet presAssocID="{AA929FFB-AA8F-4389-AF62-DEFE5CBE3E54}" presName="rootText" presStyleLbl="node3" presStyleIdx="3" presStyleCnt="5">
        <dgm:presLayoutVars>
          <dgm:chPref val="3"/>
        </dgm:presLayoutVars>
      </dgm:prSet>
      <dgm:spPr/>
    </dgm:pt>
    <dgm:pt modelId="{08DFA12C-55E7-4554-910A-1D801282BDAE}" type="pres">
      <dgm:prSet presAssocID="{AA929FFB-AA8F-4389-AF62-DEFE5CBE3E54}" presName="rootConnector" presStyleLbl="node3" presStyleIdx="3" presStyleCnt="5"/>
      <dgm:spPr/>
    </dgm:pt>
    <dgm:pt modelId="{60413F26-EED7-41C8-984C-33E69B36ECB5}" type="pres">
      <dgm:prSet presAssocID="{AA929FFB-AA8F-4389-AF62-DEFE5CBE3E54}" presName="hierChild4" presStyleCnt="0"/>
      <dgm:spPr/>
    </dgm:pt>
    <dgm:pt modelId="{04D285D5-F122-4FD8-84BA-E6628634B012}" type="pres">
      <dgm:prSet presAssocID="{DE501175-107D-40A2-A354-18BE72A9CCC5}" presName="Name37" presStyleLbl="parChTrans1D4" presStyleIdx="3" presStyleCnt="5"/>
      <dgm:spPr/>
    </dgm:pt>
    <dgm:pt modelId="{83F23DB2-1323-4C31-9B32-E95483812321}" type="pres">
      <dgm:prSet presAssocID="{57B0F1E3-3798-44E7-A9C4-8EB920DDF258}" presName="hierRoot2" presStyleCnt="0">
        <dgm:presLayoutVars>
          <dgm:hierBranch val="init"/>
        </dgm:presLayoutVars>
      </dgm:prSet>
      <dgm:spPr/>
    </dgm:pt>
    <dgm:pt modelId="{9A52B1A2-557A-4C3E-BCCB-8D344B7E871C}" type="pres">
      <dgm:prSet presAssocID="{57B0F1E3-3798-44E7-A9C4-8EB920DDF258}" presName="rootComposite" presStyleCnt="0"/>
      <dgm:spPr/>
    </dgm:pt>
    <dgm:pt modelId="{CFBAAAEF-24BA-42CC-B811-C028647DC2F8}" type="pres">
      <dgm:prSet presAssocID="{57B0F1E3-3798-44E7-A9C4-8EB920DDF258}" presName="rootText" presStyleLbl="node4" presStyleIdx="3" presStyleCnt="5" custScaleY="6720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387AE4-6CAD-4308-9E51-8B711CFA8160}" type="pres">
      <dgm:prSet presAssocID="{57B0F1E3-3798-44E7-A9C4-8EB920DDF258}" presName="rootConnector" presStyleLbl="node4" presStyleIdx="3" presStyleCnt="5"/>
      <dgm:spPr/>
    </dgm:pt>
    <dgm:pt modelId="{2BAB1CE0-9D4A-4FA7-BE6F-458ACF5D78F9}" type="pres">
      <dgm:prSet presAssocID="{57B0F1E3-3798-44E7-A9C4-8EB920DDF258}" presName="hierChild4" presStyleCnt="0"/>
      <dgm:spPr/>
    </dgm:pt>
    <dgm:pt modelId="{BCA68361-1094-41C5-B89A-E2AACCAC2C43}" type="pres">
      <dgm:prSet presAssocID="{57B0F1E3-3798-44E7-A9C4-8EB920DDF258}" presName="hierChild5" presStyleCnt="0"/>
      <dgm:spPr/>
    </dgm:pt>
    <dgm:pt modelId="{832C1EC3-2E33-4D7D-952C-643ACD216B93}" type="pres">
      <dgm:prSet presAssocID="{AA929FFB-AA8F-4389-AF62-DEFE5CBE3E54}" presName="hierChild5" presStyleCnt="0"/>
      <dgm:spPr/>
    </dgm:pt>
    <dgm:pt modelId="{E080BD5A-0F52-41FA-9E33-67B92B68BEF3}" type="pres">
      <dgm:prSet presAssocID="{A88F2B6F-6C92-4989-8A59-AE9F95CBABD4}" presName="Name37" presStyleLbl="parChTrans1D3" presStyleIdx="4" presStyleCnt="5"/>
      <dgm:spPr/>
    </dgm:pt>
    <dgm:pt modelId="{C69B9CB1-1A34-4970-8FAB-6C2C9C4F44C2}" type="pres">
      <dgm:prSet presAssocID="{0F324C2B-F415-428D-8824-9605D45C9ABF}" presName="hierRoot2" presStyleCnt="0">
        <dgm:presLayoutVars>
          <dgm:hierBranch val="init"/>
        </dgm:presLayoutVars>
      </dgm:prSet>
      <dgm:spPr/>
    </dgm:pt>
    <dgm:pt modelId="{0B35AE29-FF4B-4C67-A2F4-E27562F225FF}" type="pres">
      <dgm:prSet presAssocID="{0F324C2B-F415-428D-8824-9605D45C9ABF}" presName="rootComposite" presStyleCnt="0"/>
      <dgm:spPr/>
    </dgm:pt>
    <dgm:pt modelId="{5C7B4E66-8DB1-49B0-9D39-5DF370FB088A}" type="pres">
      <dgm:prSet presAssocID="{0F324C2B-F415-428D-8824-9605D45C9ABF}" presName="rootText" presStyleLbl="node3" presStyleIdx="4" presStyleCnt="5">
        <dgm:presLayoutVars>
          <dgm:chPref val="3"/>
        </dgm:presLayoutVars>
      </dgm:prSet>
      <dgm:spPr/>
    </dgm:pt>
    <dgm:pt modelId="{BC062FEE-9392-44EA-A449-1350D44E528B}" type="pres">
      <dgm:prSet presAssocID="{0F324C2B-F415-428D-8824-9605D45C9ABF}" presName="rootConnector" presStyleLbl="node3" presStyleIdx="4" presStyleCnt="5"/>
      <dgm:spPr/>
    </dgm:pt>
    <dgm:pt modelId="{12C9F167-B18B-45BC-9A30-9B7DD852465A}" type="pres">
      <dgm:prSet presAssocID="{0F324C2B-F415-428D-8824-9605D45C9ABF}" presName="hierChild4" presStyleCnt="0"/>
      <dgm:spPr/>
    </dgm:pt>
    <dgm:pt modelId="{F04C4F6F-185D-4AC9-8380-17A777E64A81}" type="pres">
      <dgm:prSet presAssocID="{F83FD9DC-C01D-42C7-95E0-3F92951B362F}" presName="Name37" presStyleLbl="parChTrans1D4" presStyleIdx="4" presStyleCnt="5"/>
      <dgm:spPr/>
    </dgm:pt>
    <dgm:pt modelId="{09ED3AED-7002-40B6-A148-CD38595376CF}" type="pres">
      <dgm:prSet presAssocID="{9D16D98A-5BCB-47EF-8F04-FC30A946F942}" presName="hierRoot2" presStyleCnt="0">
        <dgm:presLayoutVars>
          <dgm:hierBranch val="init"/>
        </dgm:presLayoutVars>
      </dgm:prSet>
      <dgm:spPr/>
    </dgm:pt>
    <dgm:pt modelId="{5E4AEE89-8B69-4A54-BEB3-F3F280D804D4}" type="pres">
      <dgm:prSet presAssocID="{9D16D98A-5BCB-47EF-8F04-FC30A946F942}" presName="rootComposite" presStyleCnt="0"/>
      <dgm:spPr/>
    </dgm:pt>
    <dgm:pt modelId="{E0CC7251-A42F-43D9-9979-295794B15E2F}" type="pres">
      <dgm:prSet presAssocID="{9D16D98A-5BCB-47EF-8F04-FC30A946F942}" presName="rootText" presStyleLbl="node4" presStyleIdx="4" presStyleCnt="5" custScaleY="6720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3A025D7-873F-4E80-B4D9-82ED71481E03}" type="pres">
      <dgm:prSet presAssocID="{9D16D98A-5BCB-47EF-8F04-FC30A946F942}" presName="rootConnector" presStyleLbl="node4" presStyleIdx="4" presStyleCnt="5"/>
      <dgm:spPr/>
    </dgm:pt>
    <dgm:pt modelId="{1C938225-8122-443A-97A9-E418A26642F3}" type="pres">
      <dgm:prSet presAssocID="{9D16D98A-5BCB-47EF-8F04-FC30A946F942}" presName="hierChild4" presStyleCnt="0"/>
      <dgm:spPr/>
    </dgm:pt>
    <dgm:pt modelId="{A46B8F64-94AB-4E3A-8B28-0D0EC36B4032}" type="pres">
      <dgm:prSet presAssocID="{9D16D98A-5BCB-47EF-8F04-FC30A946F942}" presName="hierChild5" presStyleCnt="0"/>
      <dgm:spPr/>
    </dgm:pt>
    <dgm:pt modelId="{15C3A668-84CD-4E8D-BE11-6423D056DE66}" type="pres">
      <dgm:prSet presAssocID="{0F324C2B-F415-428D-8824-9605D45C9ABF}" presName="hierChild5" presStyleCnt="0"/>
      <dgm:spPr/>
    </dgm:pt>
    <dgm:pt modelId="{531526AB-E89C-458E-9A88-E313E1D976F4}" type="pres">
      <dgm:prSet presAssocID="{08FDD419-7303-4156-836A-AD0A01992812}" presName="hierChild5" presStyleCnt="0"/>
      <dgm:spPr/>
    </dgm:pt>
    <dgm:pt modelId="{99694D68-083C-4C7D-A9BC-D857EE07290F}" type="pres">
      <dgm:prSet presAssocID="{B3EF2A46-F9F2-4FED-A9B2-F60785FE2DC1}" presName="Name37" presStyleLbl="parChTrans1D2" presStyleIdx="1" presStyleCnt="2"/>
      <dgm:spPr/>
    </dgm:pt>
    <dgm:pt modelId="{4748D76A-F135-4E76-8C6F-BDAF511E7CEB}" type="pres">
      <dgm:prSet presAssocID="{89B76E99-12D1-45C1-97FF-39AC6FF470AB}" presName="hierRoot2" presStyleCnt="0">
        <dgm:presLayoutVars>
          <dgm:hierBranch val="init"/>
        </dgm:presLayoutVars>
      </dgm:prSet>
      <dgm:spPr/>
    </dgm:pt>
    <dgm:pt modelId="{276368F2-5D6D-4CE6-8DB5-C70554D07E0D}" type="pres">
      <dgm:prSet presAssocID="{89B76E99-12D1-45C1-97FF-39AC6FF470AB}" presName="rootComposite" presStyleCnt="0"/>
      <dgm:spPr/>
    </dgm:pt>
    <dgm:pt modelId="{A891F834-B739-404A-ADAF-39E2B49CE751}" type="pres">
      <dgm:prSet presAssocID="{89B76E99-12D1-45C1-97FF-39AC6FF470AB}" presName="rootText" presStyleLbl="node2" presStyleIdx="1" presStyleCnt="2">
        <dgm:presLayoutVars>
          <dgm:chPref val="3"/>
        </dgm:presLayoutVars>
      </dgm:prSet>
      <dgm:spPr/>
    </dgm:pt>
    <dgm:pt modelId="{254E5BB0-C7C6-454A-9E81-D365739460A1}" type="pres">
      <dgm:prSet presAssocID="{89B76E99-12D1-45C1-97FF-39AC6FF470AB}" presName="rootConnector" presStyleLbl="node2" presStyleIdx="1" presStyleCnt="2"/>
      <dgm:spPr/>
    </dgm:pt>
    <dgm:pt modelId="{9B22D49A-E3F3-4305-A5A9-7D7CE8545790}" type="pres">
      <dgm:prSet presAssocID="{89B76E99-12D1-45C1-97FF-39AC6FF470AB}" presName="hierChild4" presStyleCnt="0"/>
      <dgm:spPr/>
    </dgm:pt>
    <dgm:pt modelId="{EEB40C51-3466-4D8C-8B18-5097C739DE75}" type="pres">
      <dgm:prSet presAssocID="{89B76E99-12D1-45C1-97FF-39AC6FF470AB}" presName="hierChild5" presStyleCnt="0"/>
      <dgm:spPr/>
    </dgm:pt>
    <dgm:pt modelId="{F9AD358A-4765-416E-A018-0D2E8F5D290A}" type="pres">
      <dgm:prSet presAssocID="{F2AD282E-71B9-4E5E-9162-D36BAEFA7F91}" presName="hierChild3" presStyleCnt="0"/>
      <dgm:spPr/>
    </dgm:pt>
  </dgm:ptLst>
  <dgm:cxnLst>
    <dgm:cxn modelId="{EED9BC30-0A49-40A1-B81F-49FEA973639F}" type="presOf" srcId="{8F70121C-F511-47E6-849F-AF4C2C53768E}" destId="{195ED860-71EC-40BA-B115-3E4DA6F88114}" srcOrd="1" destOrd="0" presId="urn:microsoft.com/office/officeart/2005/8/layout/orgChart1"/>
    <dgm:cxn modelId="{F60C9BDD-6C21-40B4-A15A-D22D9DEB0970}" type="presOf" srcId="{907C4C9C-578D-4DB5-83A7-0557CD0AF1F8}" destId="{615A066F-3081-43BA-B768-2CDD1B3EEA1C}" srcOrd="1" destOrd="0" presId="urn:microsoft.com/office/officeart/2005/8/layout/orgChart1"/>
    <dgm:cxn modelId="{82CAB5E1-F407-4EE4-9059-A2E8D595138E}" type="presOf" srcId="{907C4C9C-578D-4DB5-83A7-0557CD0AF1F8}" destId="{DD96F2ED-B680-4BD1-94E0-AC7583122C46}" srcOrd="0" destOrd="0" presId="urn:microsoft.com/office/officeart/2005/8/layout/orgChart1"/>
    <dgm:cxn modelId="{292E4875-6535-458C-BC97-FD831C489083}" srcId="{907C4C9C-578D-4DB5-83A7-0557CD0AF1F8}" destId="{3DD57B6C-FA23-45AF-A53A-B77470F98BA3}" srcOrd="0" destOrd="0" parTransId="{DCE10D90-55F8-4F51-8128-A9A1201FE70E}" sibTransId="{C1B64C16-5280-4072-9B87-04D13C72A323}"/>
    <dgm:cxn modelId="{92EDC1C5-CA90-4AEC-89DB-2A93679F402B}" srcId="{AA929FFB-AA8F-4389-AF62-DEFE5CBE3E54}" destId="{57B0F1E3-3798-44E7-A9C4-8EB920DDF258}" srcOrd="0" destOrd="0" parTransId="{DE501175-107D-40A2-A354-18BE72A9CCC5}" sibTransId="{74823E81-8B30-4120-A7AC-D233426A8323}"/>
    <dgm:cxn modelId="{37F97C69-7BE3-4AE2-A632-48EEE9F9E93E}" srcId="{98E5F2B4-C50A-4F2C-81CD-3970027DC648}" destId="{D9627688-D46D-44B6-BE70-AA6A0B7C0F8E}" srcOrd="0" destOrd="0" parTransId="{282E1347-5E7C-41D4-9B5E-9B2467677B63}" sibTransId="{E7C2434B-21B2-445A-8D15-AE82023D3DDA}"/>
    <dgm:cxn modelId="{E0CEE365-E980-4CDD-BF6C-053F3B0B7F7E}" type="presOf" srcId="{57B0F1E3-3798-44E7-A9C4-8EB920DDF258}" destId="{CFBAAAEF-24BA-42CC-B811-C028647DC2F8}" srcOrd="0" destOrd="0" presId="urn:microsoft.com/office/officeart/2005/8/layout/orgChart1"/>
    <dgm:cxn modelId="{A6680996-0924-4702-B724-0D581CC39287}" type="presOf" srcId="{E20A0728-273C-44AD-96CB-061B84C982CD}" destId="{9AB50AAE-63B6-4020-8E06-AE2489E1D7E7}" srcOrd="0" destOrd="0" presId="urn:microsoft.com/office/officeart/2005/8/layout/orgChart1"/>
    <dgm:cxn modelId="{29F65965-385B-4547-9A9E-F6C756F8044B}" type="presOf" srcId="{F83FD9DC-C01D-42C7-95E0-3F92951B362F}" destId="{F04C4F6F-185D-4AC9-8380-17A777E64A81}" srcOrd="0" destOrd="0" presId="urn:microsoft.com/office/officeart/2005/8/layout/orgChart1"/>
    <dgm:cxn modelId="{99729F90-253F-426E-AFB9-28713EE8BDD8}" srcId="{08FDD419-7303-4156-836A-AD0A01992812}" destId="{8F70121C-F511-47E6-849F-AF4C2C53768E}" srcOrd="0" destOrd="0" parTransId="{97CABF7C-EB22-4339-AC6A-E3256EC68C8F}" sibTransId="{DC96996E-56D7-4749-93AD-A806A94069A1}"/>
    <dgm:cxn modelId="{007C0DA7-55E6-4DDC-A09D-273D40FB9C8D}" srcId="{08FDD419-7303-4156-836A-AD0A01992812}" destId="{98E5F2B4-C50A-4F2C-81CD-3970027DC648}" srcOrd="2" destOrd="0" parTransId="{CB824D2A-0787-4D7E-B93D-B54E91004246}" sibTransId="{FD870EAF-8A88-4C7C-A0CA-20C367054CEB}"/>
    <dgm:cxn modelId="{030776FA-29EE-46A6-93D8-C7215034CAA9}" srcId="{08FDD419-7303-4156-836A-AD0A01992812}" destId="{907C4C9C-578D-4DB5-83A7-0557CD0AF1F8}" srcOrd="1" destOrd="0" parTransId="{227D54F5-963F-4E0D-B889-8DC8FE7AE477}" sibTransId="{FAE7C233-4302-4A0F-9C58-37DC8E0C3BE7}"/>
    <dgm:cxn modelId="{DEE524A8-1402-4EE9-8CE7-4ACABEA7FB1A}" type="presOf" srcId="{D9627688-D46D-44B6-BE70-AA6A0B7C0F8E}" destId="{76739D7E-582D-4460-BCBA-3126E6BACF14}" srcOrd="0" destOrd="0" presId="urn:microsoft.com/office/officeart/2005/8/layout/orgChart1"/>
    <dgm:cxn modelId="{B307F8EE-BBD1-424E-8C6C-3FDC2EA80AA3}" type="presOf" srcId="{3DD57B6C-FA23-45AF-A53A-B77470F98BA3}" destId="{1A81FF6D-A0BB-43B9-BB4A-D897344A0511}" srcOrd="1" destOrd="0" presId="urn:microsoft.com/office/officeart/2005/8/layout/orgChart1"/>
    <dgm:cxn modelId="{549CBAF5-04B3-4694-A357-93FC9684A3CF}" type="presOf" srcId="{57B0F1E3-3798-44E7-A9C4-8EB920DDF258}" destId="{9B387AE4-6CAD-4308-9E51-8B711CFA8160}" srcOrd="1" destOrd="0" presId="urn:microsoft.com/office/officeart/2005/8/layout/orgChart1"/>
    <dgm:cxn modelId="{7108E0B3-EAFF-43FD-A4FA-18CFA5549076}" type="presOf" srcId="{08FDD419-7303-4156-836A-AD0A01992812}" destId="{BBBEE62D-A42E-456C-8D2E-BB3C59401898}" srcOrd="0" destOrd="0" presId="urn:microsoft.com/office/officeart/2005/8/layout/orgChart1"/>
    <dgm:cxn modelId="{2A06D889-AE35-4685-8025-BE6E10850671}" srcId="{0F324C2B-F415-428D-8824-9605D45C9ABF}" destId="{9D16D98A-5BCB-47EF-8F04-FC30A946F942}" srcOrd="0" destOrd="0" parTransId="{F83FD9DC-C01D-42C7-95E0-3F92951B362F}" sibTransId="{00A2B42D-8380-4CBB-9B41-4B4D20CE0911}"/>
    <dgm:cxn modelId="{AA8B8D9D-11D5-4321-839D-0120D37677DD}" type="presOf" srcId="{282E1347-5E7C-41D4-9B5E-9B2467677B63}" destId="{7F66A34E-DAB1-45D2-91C0-F1C240313E9A}" srcOrd="0" destOrd="0" presId="urn:microsoft.com/office/officeart/2005/8/layout/orgChart1"/>
    <dgm:cxn modelId="{BE6F600C-C2E5-4ED7-8CE8-8FE82393E2E3}" type="presOf" srcId="{AA929FFB-AA8F-4389-AF62-DEFE5CBE3E54}" destId="{08DFA12C-55E7-4554-910A-1D801282BDAE}" srcOrd="1" destOrd="0" presId="urn:microsoft.com/office/officeart/2005/8/layout/orgChart1"/>
    <dgm:cxn modelId="{05181C2B-139E-4752-8ACA-106F9EC7C41B}" srcId="{F2AD282E-71B9-4E5E-9162-D36BAEFA7F91}" destId="{08FDD419-7303-4156-836A-AD0A01992812}" srcOrd="0" destOrd="0" parTransId="{50A01639-F6FF-4FDA-BFEA-ED5A7353E220}" sibTransId="{749B6F63-1ECE-4BAB-9381-5CCA355A1AA6}"/>
    <dgm:cxn modelId="{487E67AF-8DD2-45DC-B28C-C1D6F71F16FC}" type="presOf" srcId="{F2AD282E-71B9-4E5E-9162-D36BAEFA7F91}" destId="{8ED4AB53-3BB7-46E8-B78B-88FF097A4407}" srcOrd="0" destOrd="0" presId="urn:microsoft.com/office/officeart/2005/8/layout/orgChart1"/>
    <dgm:cxn modelId="{DFC1C838-903A-4516-B625-E2A4CB998A36}" type="presOf" srcId="{50A01639-F6FF-4FDA-BFEA-ED5A7353E220}" destId="{6F539988-1513-4AC3-9836-91C776A937F7}" srcOrd="0" destOrd="0" presId="urn:microsoft.com/office/officeart/2005/8/layout/orgChart1"/>
    <dgm:cxn modelId="{6C0748F2-10BD-4F7F-9F8B-42846020F411}" srcId="{F2AD282E-71B9-4E5E-9162-D36BAEFA7F91}" destId="{89B76E99-12D1-45C1-97FF-39AC6FF470AB}" srcOrd="1" destOrd="0" parTransId="{B3EF2A46-F9F2-4FED-A9B2-F60785FE2DC1}" sibTransId="{EBA3DFC0-BFDA-4FCA-B505-021ABD036D19}"/>
    <dgm:cxn modelId="{C565F4E6-A665-4837-AEDA-8B3743967FDE}" type="presOf" srcId="{89B76E99-12D1-45C1-97FF-39AC6FF470AB}" destId="{A891F834-B739-404A-ADAF-39E2B49CE751}" srcOrd="0" destOrd="0" presId="urn:microsoft.com/office/officeart/2005/8/layout/orgChart1"/>
    <dgm:cxn modelId="{4EE9EAF2-F16E-4E99-8FB1-4440A5818B24}" type="presOf" srcId="{AA929FFB-AA8F-4389-AF62-DEFE5CBE3E54}" destId="{50070A1E-CAE4-4FE8-8529-4BFC5C9295E2}" srcOrd="0" destOrd="0" presId="urn:microsoft.com/office/officeart/2005/8/layout/orgChart1"/>
    <dgm:cxn modelId="{7DDE1368-FC1F-4D9E-AC50-52957A2C5FD3}" type="presOf" srcId="{E0F3A40B-51FA-455F-8F69-7499B4E9E8AA}" destId="{CCCA51BB-AD11-4400-8510-AE8CB06D251C}" srcOrd="1" destOrd="0" presId="urn:microsoft.com/office/officeart/2005/8/layout/orgChart1"/>
    <dgm:cxn modelId="{FCDBE2FD-4DF9-4100-A9C3-827B503F3C9D}" srcId="{08FDD419-7303-4156-836A-AD0A01992812}" destId="{0F324C2B-F415-428D-8824-9605D45C9ABF}" srcOrd="4" destOrd="0" parTransId="{A88F2B6F-6C92-4989-8A59-AE9F95CBABD4}" sibTransId="{ADDF8941-2398-40B5-8A12-FD1575A8D4A3}"/>
    <dgm:cxn modelId="{ED9852CE-CB03-4AD9-AD19-88F22606E8C8}" srcId="{E20A0728-273C-44AD-96CB-061B84C982CD}" destId="{F2AD282E-71B9-4E5E-9162-D36BAEFA7F91}" srcOrd="0" destOrd="0" parTransId="{032A8AFE-EC02-4770-AAD0-35C5B18258CC}" sibTransId="{B6612E57-875B-405B-BA65-0EF84C3C0FCE}"/>
    <dgm:cxn modelId="{9428EC96-739E-4AC9-99BE-F073EA7157C8}" type="presOf" srcId="{98E5F2B4-C50A-4F2C-81CD-3970027DC648}" destId="{DEF78D0B-2F91-4D2F-9BE8-6956A05D860C}" srcOrd="1" destOrd="0" presId="urn:microsoft.com/office/officeart/2005/8/layout/orgChart1"/>
    <dgm:cxn modelId="{7A306C72-9E2B-4C3B-9A4C-F48E5722C80D}" type="presOf" srcId="{0F324C2B-F415-428D-8824-9605D45C9ABF}" destId="{5C7B4E66-8DB1-49B0-9D39-5DF370FB088A}" srcOrd="0" destOrd="0" presId="urn:microsoft.com/office/officeart/2005/8/layout/orgChart1"/>
    <dgm:cxn modelId="{8583D4FB-7730-469A-8F1F-BAE7EB869ECF}" srcId="{8F70121C-F511-47E6-849F-AF4C2C53768E}" destId="{E0F3A40B-51FA-455F-8F69-7499B4E9E8AA}" srcOrd="0" destOrd="0" parTransId="{8414DD9A-7326-4E32-988F-5D7E352F222A}" sibTransId="{87667A67-97E6-4C7A-84C1-D50559865530}"/>
    <dgm:cxn modelId="{DAA98D1C-B0E1-47AB-B447-6E2806F6B940}" type="presOf" srcId="{CB824D2A-0787-4D7E-B93D-B54E91004246}" destId="{1E4C90C0-C486-40D7-8AD0-01D437E3F1E6}" srcOrd="0" destOrd="0" presId="urn:microsoft.com/office/officeart/2005/8/layout/orgChart1"/>
    <dgm:cxn modelId="{6409813F-DA0A-4545-A0A9-BF5284A2A11E}" type="presOf" srcId="{8F70121C-F511-47E6-849F-AF4C2C53768E}" destId="{E83BEE59-38E0-451B-9A3C-240CDA94DA03}" srcOrd="0" destOrd="0" presId="urn:microsoft.com/office/officeart/2005/8/layout/orgChart1"/>
    <dgm:cxn modelId="{273B4B5B-1328-4A60-81E2-63CC05CCCF64}" type="presOf" srcId="{8414DD9A-7326-4E32-988F-5D7E352F222A}" destId="{A2EF4654-453F-43E1-85B5-8AC798AEEBBB}" srcOrd="0" destOrd="0" presId="urn:microsoft.com/office/officeart/2005/8/layout/orgChart1"/>
    <dgm:cxn modelId="{A202A06C-716A-48CE-B032-984BDEBEBE1E}" type="presOf" srcId="{A88F2B6F-6C92-4989-8A59-AE9F95CBABD4}" destId="{E080BD5A-0F52-41FA-9E33-67B92B68BEF3}" srcOrd="0" destOrd="0" presId="urn:microsoft.com/office/officeart/2005/8/layout/orgChart1"/>
    <dgm:cxn modelId="{28D00509-77C2-4709-8D49-D077A14EAA3A}" type="presOf" srcId="{B3EF2A46-F9F2-4FED-A9B2-F60785FE2DC1}" destId="{99694D68-083C-4C7D-A9BC-D857EE07290F}" srcOrd="0" destOrd="0" presId="urn:microsoft.com/office/officeart/2005/8/layout/orgChart1"/>
    <dgm:cxn modelId="{A792B9BA-0879-41AC-BDDB-58CA1ADF0988}" type="presOf" srcId="{3DD57B6C-FA23-45AF-A53A-B77470F98BA3}" destId="{A8A048B2-63B3-4CD9-8773-D0959158F9D7}" srcOrd="0" destOrd="0" presId="urn:microsoft.com/office/officeart/2005/8/layout/orgChart1"/>
    <dgm:cxn modelId="{E7699753-18C3-43B8-A15F-C654FF515D4C}" type="presOf" srcId="{08FDD419-7303-4156-836A-AD0A01992812}" destId="{8F945D32-7CDA-4AAD-AB18-FA4E9BB9399E}" srcOrd="1" destOrd="0" presId="urn:microsoft.com/office/officeart/2005/8/layout/orgChart1"/>
    <dgm:cxn modelId="{D7AB923A-B9F2-48B3-B4A2-C62AFE2703B5}" type="presOf" srcId="{98E5F2B4-C50A-4F2C-81CD-3970027DC648}" destId="{1DC4EA10-C7EA-48F8-8B93-1DAA6127AF52}" srcOrd="0" destOrd="0" presId="urn:microsoft.com/office/officeart/2005/8/layout/orgChart1"/>
    <dgm:cxn modelId="{CA6CC62F-8F41-4A47-B877-42241466F1AF}" srcId="{08FDD419-7303-4156-836A-AD0A01992812}" destId="{AA929FFB-AA8F-4389-AF62-DEFE5CBE3E54}" srcOrd="3" destOrd="0" parTransId="{28717054-EDCE-4501-858B-BDA20B603901}" sibTransId="{840ACB64-02B5-41C0-B66D-9672E0F537AD}"/>
    <dgm:cxn modelId="{DD22492C-957B-44D9-9B47-95BC75367CD3}" type="presOf" srcId="{9D16D98A-5BCB-47EF-8F04-FC30A946F942}" destId="{73A025D7-873F-4E80-B4D9-82ED71481E03}" srcOrd="1" destOrd="0" presId="urn:microsoft.com/office/officeart/2005/8/layout/orgChart1"/>
    <dgm:cxn modelId="{2BB49898-3FAD-480C-91C1-E3B0350D7E1A}" type="presOf" srcId="{F2AD282E-71B9-4E5E-9162-D36BAEFA7F91}" destId="{6146E5F2-1D0D-434B-B495-9C6D310CD163}" srcOrd="1" destOrd="0" presId="urn:microsoft.com/office/officeart/2005/8/layout/orgChart1"/>
    <dgm:cxn modelId="{A37D022B-AB86-4081-A3AF-FF3B47C8B681}" type="presOf" srcId="{0F324C2B-F415-428D-8824-9605D45C9ABF}" destId="{BC062FEE-9392-44EA-A449-1350D44E528B}" srcOrd="1" destOrd="0" presId="urn:microsoft.com/office/officeart/2005/8/layout/orgChart1"/>
    <dgm:cxn modelId="{A65713B1-8495-440D-96F5-F4E4DF2BCC39}" type="presOf" srcId="{DCE10D90-55F8-4F51-8128-A9A1201FE70E}" destId="{5C261296-8F83-4F8E-BED1-E4BFA8C4E852}" srcOrd="0" destOrd="0" presId="urn:microsoft.com/office/officeart/2005/8/layout/orgChart1"/>
    <dgm:cxn modelId="{768D301E-B1BF-4EF7-A269-2FD19F3CED9C}" type="presOf" srcId="{89B76E99-12D1-45C1-97FF-39AC6FF470AB}" destId="{254E5BB0-C7C6-454A-9E81-D365739460A1}" srcOrd="1" destOrd="0" presId="urn:microsoft.com/office/officeart/2005/8/layout/orgChart1"/>
    <dgm:cxn modelId="{8ABA5168-9B48-4E75-96B6-646D28286864}" type="presOf" srcId="{227D54F5-963F-4E0D-B889-8DC8FE7AE477}" destId="{F17863FA-C62C-4146-8239-D4EA8251DF45}" srcOrd="0" destOrd="0" presId="urn:microsoft.com/office/officeart/2005/8/layout/orgChart1"/>
    <dgm:cxn modelId="{3D2967EF-0974-4E3D-8780-267427C64104}" type="presOf" srcId="{9D16D98A-5BCB-47EF-8F04-FC30A946F942}" destId="{E0CC7251-A42F-43D9-9979-295794B15E2F}" srcOrd="0" destOrd="0" presId="urn:microsoft.com/office/officeart/2005/8/layout/orgChart1"/>
    <dgm:cxn modelId="{92C4CED5-4C98-480B-B60E-314EAF681E05}" type="presOf" srcId="{DE501175-107D-40A2-A354-18BE72A9CCC5}" destId="{04D285D5-F122-4FD8-84BA-E6628634B012}" srcOrd="0" destOrd="0" presId="urn:microsoft.com/office/officeart/2005/8/layout/orgChart1"/>
    <dgm:cxn modelId="{98FB2AA2-83BC-4CAA-A2F2-49380BA2AC17}" type="presOf" srcId="{28717054-EDCE-4501-858B-BDA20B603901}" destId="{3504AD66-3E99-404C-8BD4-FFF43ACB32FB}" srcOrd="0" destOrd="0" presId="urn:microsoft.com/office/officeart/2005/8/layout/orgChart1"/>
    <dgm:cxn modelId="{C7AA7882-3CA5-40C2-8B4C-2019DE4B0F17}" type="presOf" srcId="{D9627688-D46D-44B6-BE70-AA6A0B7C0F8E}" destId="{FC0376B8-591D-4D5A-B18B-D3739D0ABABD}" srcOrd="1" destOrd="0" presId="urn:microsoft.com/office/officeart/2005/8/layout/orgChart1"/>
    <dgm:cxn modelId="{68E10811-3D66-4F5C-AF66-C77880354EE8}" type="presOf" srcId="{97CABF7C-EB22-4339-AC6A-E3256EC68C8F}" destId="{17EDFC4E-631B-4080-BC57-8F9D18A93AA1}" srcOrd="0" destOrd="0" presId="urn:microsoft.com/office/officeart/2005/8/layout/orgChart1"/>
    <dgm:cxn modelId="{D8881D86-0062-4F1D-91CD-1801B837C035}" type="presOf" srcId="{E0F3A40B-51FA-455F-8F69-7499B4E9E8AA}" destId="{E284F209-F047-442B-B10E-2C807B950F05}" srcOrd="0" destOrd="0" presId="urn:microsoft.com/office/officeart/2005/8/layout/orgChart1"/>
    <dgm:cxn modelId="{F48C8BC1-625D-488A-9C20-850A03433FBA}" type="presParOf" srcId="{9AB50AAE-63B6-4020-8E06-AE2489E1D7E7}" destId="{51E3848A-BD05-4FE8-8DFF-DE5C9B376ADB}" srcOrd="0" destOrd="0" presId="urn:microsoft.com/office/officeart/2005/8/layout/orgChart1"/>
    <dgm:cxn modelId="{AE656669-34AD-4923-AE5B-E0621A1F1D24}" type="presParOf" srcId="{51E3848A-BD05-4FE8-8DFF-DE5C9B376ADB}" destId="{21C9BB61-D892-456C-8506-3140500DDFA7}" srcOrd="0" destOrd="0" presId="urn:microsoft.com/office/officeart/2005/8/layout/orgChart1"/>
    <dgm:cxn modelId="{0CB0C4DF-BDBE-4146-97FC-8A3BC7F7B87A}" type="presParOf" srcId="{21C9BB61-D892-456C-8506-3140500DDFA7}" destId="{8ED4AB53-3BB7-46E8-B78B-88FF097A4407}" srcOrd="0" destOrd="0" presId="urn:microsoft.com/office/officeart/2005/8/layout/orgChart1"/>
    <dgm:cxn modelId="{472330B9-FE5C-418C-BB55-360A29679ED5}" type="presParOf" srcId="{21C9BB61-D892-456C-8506-3140500DDFA7}" destId="{6146E5F2-1D0D-434B-B495-9C6D310CD163}" srcOrd="1" destOrd="0" presId="urn:microsoft.com/office/officeart/2005/8/layout/orgChart1"/>
    <dgm:cxn modelId="{0D743BCF-48BA-4689-94FD-AB09BA01527C}" type="presParOf" srcId="{51E3848A-BD05-4FE8-8DFF-DE5C9B376ADB}" destId="{784E6A4A-DBCD-4ADB-BBA5-2A4078DA905D}" srcOrd="1" destOrd="0" presId="urn:microsoft.com/office/officeart/2005/8/layout/orgChart1"/>
    <dgm:cxn modelId="{4448CDAD-77A2-437C-A080-00E1DBA2618E}" type="presParOf" srcId="{784E6A4A-DBCD-4ADB-BBA5-2A4078DA905D}" destId="{6F539988-1513-4AC3-9836-91C776A937F7}" srcOrd="0" destOrd="0" presId="urn:microsoft.com/office/officeart/2005/8/layout/orgChart1"/>
    <dgm:cxn modelId="{B0BD1BA0-75D6-418E-A6B5-C6263E670710}" type="presParOf" srcId="{784E6A4A-DBCD-4ADB-BBA5-2A4078DA905D}" destId="{38FF866D-AE7E-4158-9EA1-91E352D566FF}" srcOrd="1" destOrd="0" presId="urn:microsoft.com/office/officeart/2005/8/layout/orgChart1"/>
    <dgm:cxn modelId="{14963F64-CD77-418A-AFBF-25AD3420E843}" type="presParOf" srcId="{38FF866D-AE7E-4158-9EA1-91E352D566FF}" destId="{B935113B-0B97-45A5-B0FA-B979BA1A58CF}" srcOrd="0" destOrd="0" presId="urn:microsoft.com/office/officeart/2005/8/layout/orgChart1"/>
    <dgm:cxn modelId="{04437CE2-A3CD-45E0-9325-E34FAF7660A0}" type="presParOf" srcId="{B935113B-0B97-45A5-B0FA-B979BA1A58CF}" destId="{BBBEE62D-A42E-456C-8D2E-BB3C59401898}" srcOrd="0" destOrd="0" presId="urn:microsoft.com/office/officeart/2005/8/layout/orgChart1"/>
    <dgm:cxn modelId="{5EB597AB-2B1B-4280-93EF-36489989BECF}" type="presParOf" srcId="{B935113B-0B97-45A5-B0FA-B979BA1A58CF}" destId="{8F945D32-7CDA-4AAD-AB18-FA4E9BB9399E}" srcOrd="1" destOrd="0" presId="urn:microsoft.com/office/officeart/2005/8/layout/orgChart1"/>
    <dgm:cxn modelId="{93F33AC0-2F78-44F7-ABB7-5017EB07337C}" type="presParOf" srcId="{38FF866D-AE7E-4158-9EA1-91E352D566FF}" destId="{7BE6137E-0FF8-407D-AA6F-A68349DACCFE}" srcOrd="1" destOrd="0" presId="urn:microsoft.com/office/officeart/2005/8/layout/orgChart1"/>
    <dgm:cxn modelId="{0DFFFDF1-04B6-4D15-8ACC-6A98590C9416}" type="presParOf" srcId="{7BE6137E-0FF8-407D-AA6F-A68349DACCFE}" destId="{17EDFC4E-631B-4080-BC57-8F9D18A93AA1}" srcOrd="0" destOrd="0" presId="urn:microsoft.com/office/officeart/2005/8/layout/orgChart1"/>
    <dgm:cxn modelId="{CBC4F2D7-3436-404B-A5BA-A8459D2694CA}" type="presParOf" srcId="{7BE6137E-0FF8-407D-AA6F-A68349DACCFE}" destId="{4B08F523-1AA6-4F40-BBD2-B4A34DCDD549}" srcOrd="1" destOrd="0" presId="urn:microsoft.com/office/officeart/2005/8/layout/orgChart1"/>
    <dgm:cxn modelId="{22A5A4A4-848D-466B-A350-08DFC278A396}" type="presParOf" srcId="{4B08F523-1AA6-4F40-BBD2-B4A34DCDD549}" destId="{C035777A-AB84-4190-9F85-C6D63A2770DA}" srcOrd="0" destOrd="0" presId="urn:microsoft.com/office/officeart/2005/8/layout/orgChart1"/>
    <dgm:cxn modelId="{24A8A4FA-6F9A-4D27-B8A5-D4D9F8FE2D22}" type="presParOf" srcId="{C035777A-AB84-4190-9F85-C6D63A2770DA}" destId="{E83BEE59-38E0-451B-9A3C-240CDA94DA03}" srcOrd="0" destOrd="0" presId="urn:microsoft.com/office/officeart/2005/8/layout/orgChart1"/>
    <dgm:cxn modelId="{0CFE2B36-E01D-4230-989B-B3FBCA6FA3A0}" type="presParOf" srcId="{C035777A-AB84-4190-9F85-C6D63A2770DA}" destId="{195ED860-71EC-40BA-B115-3E4DA6F88114}" srcOrd="1" destOrd="0" presId="urn:microsoft.com/office/officeart/2005/8/layout/orgChart1"/>
    <dgm:cxn modelId="{3E6261CA-8ED4-4FC6-8A37-B39B7B4EF0B4}" type="presParOf" srcId="{4B08F523-1AA6-4F40-BBD2-B4A34DCDD549}" destId="{AF4C3C7C-4C1C-46E7-93D9-E8BBCCAECD9D}" srcOrd="1" destOrd="0" presId="urn:microsoft.com/office/officeart/2005/8/layout/orgChart1"/>
    <dgm:cxn modelId="{1CE2219C-985A-48F1-BFFA-59B94103CE20}" type="presParOf" srcId="{AF4C3C7C-4C1C-46E7-93D9-E8BBCCAECD9D}" destId="{A2EF4654-453F-43E1-85B5-8AC798AEEBBB}" srcOrd="0" destOrd="0" presId="urn:microsoft.com/office/officeart/2005/8/layout/orgChart1"/>
    <dgm:cxn modelId="{C896FC2C-7A05-4984-B8F4-90E8C1A7D07D}" type="presParOf" srcId="{AF4C3C7C-4C1C-46E7-93D9-E8BBCCAECD9D}" destId="{C55E43DB-31A6-4267-A0DF-6A0FA97D4631}" srcOrd="1" destOrd="0" presId="urn:microsoft.com/office/officeart/2005/8/layout/orgChart1"/>
    <dgm:cxn modelId="{BA1703BF-2299-4864-B1F3-4EA0F41068B9}" type="presParOf" srcId="{C55E43DB-31A6-4267-A0DF-6A0FA97D4631}" destId="{85AB79BF-F28B-4F32-AA92-A5955A47BFC5}" srcOrd="0" destOrd="0" presId="urn:microsoft.com/office/officeart/2005/8/layout/orgChart1"/>
    <dgm:cxn modelId="{B00FF288-2381-41BB-8465-85280D96FF57}" type="presParOf" srcId="{85AB79BF-F28B-4F32-AA92-A5955A47BFC5}" destId="{E284F209-F047-442B-B10E-2C807B950F05}" srcOrd="0" destOrd="0" presId="urn:microsoft.com/office/officeart/2005/8/layout/orgChart1"/>
    <dgm:cxn modelId="{4468A793-1BC7-4672-9771-C0A03136670D}" type="presParOf" srcId="{85AB79BF-F28B-4F32-AA92-A5955A47BFC5}" destId="{CCCA51BB-AD11-4400-8510-AE8CB06D251C}" srcOrd="1" destOrd="0" presId="urn:microsoft.com/office/officeart/2005/8/layout/orgChart1"/>
    <dgm:cxn modelId="{4D0F45A5-7015-4332-9663-F98CD9802246}" type="presParOf" srcId="{C55E43DB-31A6-4267-A0DF-6A0FA97D4631}" destId="{CE598A90-BA30-4016-8FF4-EAF394034ED0}" srcOrd="1" destOrd="0" presId="urn:microsoft.com/office/officeart/2005/8/layout/orgChart1"/>
    <dgm:cxn modelId="{34693028-67F9-46A9-BA50-25D09BCF3353}" type="presParOf" srcId="{C55E43DB-31A6-4267-A0DF-6A0FA97D4631}" destId="{1B390B9D-A46A-4123-9D09-EA8F5A8DAA5D}" srcOrd="2" destOrd="0" presId="urn:microsoft.com/office/officeart/2005/8/layout/orgChart1"/>
    <dgm:cxn modelId="{14A95F55-C771-40A2-A400-AB3C4DFFA1C0}" type="presParOf" srcId="{4B08F523-1AA6-4F40-BBD2-B4A34DCDD549}" destId="{DDD97CA7-F191-4BFA-BFCE-83A9E7F2AB12}" srcOrd="2" destOrd="0" presId="urn:microsoft.com/office/officeart/2005/8/layout/orgChart1"/>
    <dgm:cxn modelId="{9E438E7E-E94C-4ED9-9F4E-72C603AE662A}" type="presParOf" srcId="{7BE6137E-0FF8-407D-AA6F-A68349DACCFE}" destId="{F17863FA-C62C-4146-8239-D4EA8251DF45}" srcOrd="2" destOrd="0" presId="urn:microsoft.com/office/officeart/2005/8/layout/orgChart1"/>
    <dgm:cxn modelId="{3C48F5A4-A0E8-4614-A47F-1CCD699DD82D}" type="presParOf" srcId="{7BE6137E-0FF8-407D-AA6F-A68349DACCFE}" destId="{3A95F08A-D9E7-4C17-AB78-58FA8BC737CA}" srcOrd="3" destOrd="0" presId="urn:microsoft.com/office/officeart/2005/8/layout/orgChart1"/>
    <dgm:cxn modelId="{4EB6D46C-C68C-433A-A3E6-E946ED30EC10}" type="presParOf" srcId="{3A95F08A-D9E7-4C17-AB78-58FA8BC737CA}" destId="{625EA4D1-5FFA-419A-B1C5-7541384D44FF}" srcOrd="0" destOrd="0" presId="urn:microsoft.com/office/officeart/2005/8/layout/orgChart1"/>
    <dgm:cxn modelId="{4971E95C-E009-444D-9999-134493CEC6C5}" type="presParOf" srcId="{625EA4D1-5FFA-419A-B1C5-7541384D44FF}" destId="{DD96F2ED-B680-4BD1-94E0-AC7583122C46}" srcOrd="0" destOrd="0" presId="urn:microsoft.com/office/officeart/2005/8/layout/orgChart1"/>
    <dgm:cxn modelId="{ABF44580-64BD-4434-8E0D-051AC5455BDE}" type="presParOf" srcId="{625EA4D1-5FFA-419A-B1C5-7541384D44FF}" destId="{615A066F-3081-43BA-B768-2CDD1B3EEA1C}" srcOrd="1" destOrd="0" presId="urn:microsoft.com/office/officeart/2005/8/layout/orgChart1"/>
    <dgm:cxn modelId="{DF4FDE92-5D82-41A3-A43D-F26AA11791E3}" type="presParOf" srcId="{3A95F08A-D9E7-4C17-AB78-58FA8BC737CA}" destId="{B556306A-084A-4CCC-ABAC-10E67F5A5E20}" srcOrd="1" destOrd="0" presId="urn:microsoft.com/office/officeart/2005/8/layout/orgChart1"/>
    <dgm:cxn modelId="{C2194D54-30BA-4871-98DB-DC90EB4D3ED2}" type="presParOf" srcId="{B556306A-084A-4CCC-ABAC-10E67F5A5E20}" destId="{5C261296-8F83-4F8E-BED1-E4BFA8C4E852}" srcOrd="0" destOrd="0" presId="urn:microsoft.com/office/officeart/2005/8/layout/orgChart1"/>
    <dgm:cxn modelId="{3E8FE9BA-1EDD-42F6-BAFD-E388518112ED}" type="presParOf" srcId="{B556306A-084A-4CCC-ABAC-10E67F5A5E20}" destId="{29D0E520-9CD3-4BB6-BE54-025AE7206B94}" srcOrd="1" destOrd="0" presId="urn:microsoft.com/office/officeart/2005/8/layout/orgChart1"/>
    <dgm:cxn modelId="{3A539107-9B0C-428B-AF43-80E4AD4CD882}" type="presParOf" srcId="{29D0E520-9CD3-4BB6-BE54-025AE7206B94}" destId="{83498B0A-84B3-4C0C-BF63-17CE18ED129A}" srcOrd="0" destOrd="0" presId="urn:microsoft.com/office/officeart/2005/8/layout/orgChart1"/>
    <dgm:cxn modelId="{384744DA-AC57-4AC9-AD0C-329DC8531023}" type="presParOf" srcId="{83498B0A-84B3-4C0C-BF63-17CE18ED129A}" destId="{A8A048B2-63B3-4CD9-8773-D0959158F9D7}" srcOrd="0" destOrd="0" presId="urn:microsoft.com/office/officeart/2005/8/layout/orgChart1"/>
    <dgm:cxn modelId="{3498A382-DD37-41DD-B61D-1EB6493C0839}" type="presParOf" srcId="{83498B0A-84B3-4C0C-BF63-17CE18ED129A}" destId="{1A81FF6D-A0BB-43B9-BB4A-D897344A0511}" srcOrd="1" destOrd="0" presId="urn:microsoft.com/office/officeart/2005/8/layout/orgChart1"/>
    <dgm:cxn modelId="{D94C99B6-D401-42F6-A5E5-EFE8F3C8CC65}" type="presParOf" srcId="{29D0E520-9CD3-4BB6-BE54-025AE7206B94}" destId="{676B4F92-8A21-4E4C-BC2F-61E908211D8D}" srcOrd="1" destOrd="0" presId="urn:microsoft.com/office/officeart/2005/8/layout/orgChart1"/>
    <dgm:cxn modelId="{39012B2B-7FAA-477C-880A-83C7F4237336}" type="presParOf" srcId="{29D0E520-9CD3-4BB6-BE54-025AE7206B94}" destId="{B67F7274-DE5A-4588-822B-F6FFC248C45E}" srcOrd="2" destOrd="0" presId="urn:microsoft.com/office/officeart/2005/8/layout/orgChart1"/>
    <dgm:cxn modelId="{B5FD088C-6854-46BF-8A9C-235D35964D8A}" type="presParOf" srcId="{3A95F08A-D9E7-4C17-AB78-58FA8BC737CA}" destId="{D046147C-E165-4745-999E-1B5C869A84EC}" srcOrd="2" destOrd="0" presId="urn:microsoft.com/office/officeart/2005/8/layout/orgChart1"/>
    <dgm:cxn modelId="{95486DEA-BADB-4F28-B1B1-CBC42EA86071}" type="presParOf" srcId="{7BE6137E-0FF8-407D-AA6F-A68349DACCFE}" destId="{1E4C90C0-C486-40D7-8AD0-01D437E3F1E6}" srcOrd="4" destOrd="0" presId="urn:microsoft.com/office/officeart/2005/8/layout/orgChart1"/>
    <dgm:cxn modelId="{7228D007-A904-4A99-AC73-F1AF6EC9D006}" type="presParOf" srcId="{7BE6137E-0FF8-407D-AA6F-A68349DACCFE}" destId="{2031E797-50E0-45DA-9CE6-D9E7BECA3B27}" srcOrd="5" destOrd="0" presId="urn:microsoft.com/office/officeart/2005/8/layout/orgChart1"/>
    <dgm:cxn modelId="{328064E1-A1B0-407B-87F6-5C5E9529E58C}" type="presParOf" srcId="{2031E797-50E0-45DA-9CE6-D9E7BECA3B27}" destId="{295CBDAB-887B-46EE-BCCD-AF928EF09BF0}" srcOrd="0" destOrd="0" presId="urn:microsoft.com/office/officeart/2005/8/layout/orgChart1"/>
    <dgm:cxn modelId="{A90B007F-6552-4FE4-B656-45292EF6165C}" type="presParOf" srcId="{295CBDAB-887B-46EE-BCCD-AF928EF09BF0}" destId="{1DC4EA10-C7EA-48F8-8B93-1DAA6127AF52}" srcOrd="0" destOrd="0" presId="urn:microsoft.com/office/officeart/2005/8/layout/orgChart1"/>
    <dgm:cxn modelId="{09CB8F74-F281-4A2E-AE03-AC7AF68FF8A2}" type="presParOf" srcId="{295CBDAB-887B-46EE-BCCD-AF928EF09BF0}" destId="{DEF78D0B-2F91-4D2F-9BE8-6956A05D860C}" srcOrd="1" destOrd="0" presId="urn:microsoft.com/office/officeart/2005/8/layout/orgChart1"/>
    <dgm:cxn modelId="{6F5286C2-E852-4AC6-A48A-A555B9ACB94C}" type="presParOf" srcId="{2031E797-50E0-45DA-9CE6-D9E7BECA3B27}" destId="{C0ACDF58-1915-45DB-B3B2-AC8FCA3519E7}" srcOrd="1" destOrd="0" presId="urn:microsoft.com/office/officeart/2005/8/layout/orgChart1"/>
    <dgm:cxn modelId="{D1EE362B-ADE5-424B-9C4A-8D30BD6C833A}" type="presParOf" srcId="{C0ACDF58-1915-45DB-B3B2-AC8FCA3519E7}" destId="{7F66A34E-DAB1-45D2-91C0-F1C240313E9A}" srcOrd="0" destOrd="0" presId="urn:microsoft.com/office/officeart/2005/8/layout/orgChart1"/>
    <dgm:cxn modelId="{6DEDD005-29DD-4F8B-A470-AA09F3C6D3B2}" type="presParOf" srcId="{C0ACDF58-1915-45DB-B3B2-AC8FCA3519E7}" destId="{40E998C3-7833-4AAC-8CDA-D45B21A3B968}" srcOrd="1" destOrd="0" presId="urn:microsoft.com/office/officeart/2005/8/layout/orgChart1"/>
    <dgm:cxn modelId="{2947E90A-69D4-4A05-A9A5-3F7E0896F7A5}" type="presParOf" srcId="{40E998C3-7833-4AAC-8CDA-D45B21A3B968}" destId="{AD847F26-FC24-4301-A011-16CC31A71559}" srcOrd="0" destOrd="0" presId="urn:microsoft.com/office/officeart/2005/8/layout/orgChart1"/>
    <dgm:cxn modelId="{7C4B7C00-5D63-4965-AA7C-719C96BA44A2}" type="presParOf" srcId="{AD847F26-FC24-4301-A011-16CC31A71559}" destId="{76739D7E-582D-4460-BCBA-3126E6BACF14}" srcOrd="0" destOrd="0" presId="urn:microsoft.com/office/officeart/2005/8/layout/orgChart1"/>
    <dgm:cxn modelId="{8BADBA54-82E9-43C2-ADAC-0C3B6591D8AE}" type="presParOf" srcId="{AD847F26-FC24-4301-A011-16CC31A71559}" destId="{FC0376B8-591D-4D5A-B18B-D3739D0ABABD}" srcOrd="1" destOrd="0" presId="urn:microsoft.com/office/officeart/2005/8/layout/orgChart1"/>
    <dgm:cxn modelId="{3E1938D8-49D2-4181-9BF4-5ACC80CBF20A}" type="presParOf" srcId="{40E998C3-7833-4AAC-8CDA-D45B21A3B968}" destId="{3386001A-1B18-4579-822D-9ADD0511CC42}" srcOrd="1" destOrd="0" presId="urn:microsoft.com/office/officeart/2005/8/layout/orgChart1"/>
    <dgm:cxn modelId="{6A94786F-3C05-4D80-9B21-CABB97CF4A25}" type="presParOf" srcId="{40E998C3-7833-4AAC-8CDA-D45B21A3B968}" destId="{26AE424E-612F-4FA2-ABC7-89D9D421A6D8}" srcOrd="2" destOrd="0" presId="urn:microsoft.com/office/officeart/2005/8/layout/orgChart1"/>
    <dgm:cxn modelId="{41951CAC-C1C5-4840-994D-89DB31AD48E2}" type="presParOf" srcId="{2031E797-50E0-45DA-9CE6-D9E7BECA3B27}" destId="{7CA97AA6-1E32-4648-86DD-B198FD9FDF61}" srcOrd="2" destOrd="0" presId="urn:microsoft.com/office/officeart/2005/8/layout/orgChart1"/>
    <dgm:cxn modelId="{5324CD94-0AE1-49EB-94A4-BCF4F2A738A7}" type="presParOf" srcId="{7BE6137E-0FF8-407D-AA6F-A68349DACCFE}" destId="{3504AD66-3E99-404C-8BD4-FFF43ACB32FB}" srcOrd="6" destOrd="0" presId="urn:microsoft.com/office/officeart/2005/8/layout/orgChart1"/>
    <dgm:cxn modelId="{2F8A43C5-8CB1-40BB-B625-C24ED74A484B}" type="presParOf" srcId="{7BE6137E-0FF8-407D-AA6F-A68349DACCFE}" destId="{A32F077C-1479-4B29-9A28-ECC4BCC65709}" srcOrd="7" destOrd="0" presId="urn:microsoft.com/office/officeart/2005/8/layout/orgChart1"/>
    <dgm:cxn modelId="{D6ADBC0B-3D46-4E10-A656-DBA96765ED35}" type="presParOf" srcId="{A32F077C-1479-4B29-9A28-ECC4BCC65709}" destId="{D65A2CB1-F491-462B-9B33-80606E65B8DE}" srcOrd="0" destOrd="0" presId="urn:microsoft.com/office/officeart/2005/8/layout/orgChart1"/>
    <dgm:cxn modelId="{C191FFE5-A0F8-4420-BD27-427FAAD6E431}" type="presParOf" srcId="{D65A2CB1-F491-462B-9B33-80606E65B8DE}" destId="{50070A1E-CAE4-4FE8-8529-4BFC5C9295E2}" srcOrd="0" destOrd="0" presId="urn:microsoft.com/office/officeart/2005/8/layout/orgChart1"/>
    <dgm:cxn modelId="{B98E7934-2EC3-4209-8437-97E9ABFD81CB}" type="presParOf" srcId="{D65A2CB1-F491-462B-9B33-80606E65B8DE}" destId="{08DFA12C-55E7-4554-910A-1D801282BDAE}" srcOrd="1" destOrd="0" presId="urn:microsoft.com/office/officeart/2005/8/layout/orgChart1"/>
    <dgm:cxn modelId="{16E36D64-E579-490D-8FC4-30D80B7DB64A}" type="presParOf" srcId="{A32F077C-1479-4B29-9A28-ECC4BCC65709}" destId="{60413F26-EED7-41C8-984C-33E69B36ECB5}" srcOrd="1" destOrd="0" presId="urn:microsoft.com/office/officeart/2005/8/layout/orgChart1"/>
    <dgm:cxn modelId="{258815BA-E98C-4B5C-984D-9740F79DB34F}" type="presParOf" srcId="{60413F26-EED7-41C8-984C-33E69B36ECB5}" destId="{04D285D5-F122-4FD8-84BA-E6628634B012}" srcOrd="0" destOrd="0" presId="urn:microsoft.com/office/officeart/2005/8/layout/orgChart1"/>
    <dgm:cxn modelId="{AF11C028-F78C-4EC9-A2F4-8B70B6341638}" type="presParOf" srcId="{60413F26-EED7-41C8-984C-33E69B36ECB5}" destId="{83F23DB2-1323-4C31-9B32-E95483812321}" srcOrd="1" destOrd="0" presId="urn:microsoft.com/office/officeart/2005/8/layout/orgChart1"/>
    <dgm:cxn modelId="{7621CBCF-B6BB-423A-9F02-BDB451FB2652}" type="presParOf" srcId="{83F23DB2-1323-4C31-9B32-E95483812321}" destId="{9A52B1A2-557A-4C3E-BCCB-8D344B7E871C}" srcOrd="0" destOrd="0" presId="urn:microsoft.com/office/officeart/2005/8/layout/orgChart1"/>
    <dgm:cxn modelId="{D6A98854-04B6-4952-9EAB-089AACC0103E}" type="presParOf" srcId="{9A52B1A2-557A-4C3E-BCCB-8D344B7E871C}" destId="{CFBAAAEF-24BA-42CC-B811-C028647DC2F8}" srcOrd="0" destOrd="0" presId="urn:microsoft.com/office/officeart/2005/8/layout/orgChart1"/>
    <dgm:cxn modelId="{06A3C2EC-1C16-4258-B58E-5012162E02F8}" type="presParOf" srcId="{9A52B1A2-557A-4C3E-BCCB-8D344B7E871C}" destId="{9B387AE4-6CAD-4308-9E51-8B711CFA8160}" srcOrd="1" destOrd="0" presId="urn:microsoft.com/office/officeart/2005/8/layout/orgChart1"/>
    <dgm:cxn modelId="{0E73A9AE-15CE-4A17-A9C6-7BA62DBC419B}" type="presParOf" srcId="{83F23DB2-1323-4C31-9B32-E95483812321}" destId="{2BAB1CE0-9D4A-4FA7-BE6F-458ACF5D78F9}" srcOrd="1" destOrd="0" presId="urn:microsoft.com/office/officeart/2005/8/layout/orgChart1"/>
    <dgm:cxn modelId="{80509863-956B-4AA9-A87E-009BDC3005EF}" type="presParOf" srcId="{83F23DB2-1323-4C31-9B32-E95483812321}" destId="{BCA68361-1094-41C5-B89A-E2AACCAC2C43}" srcOrd="2" destOrd="0" presId="urn:microsoft.com/office/officeart/2005/8/layout/orgChart1"/>
    <dgm:cxn modelId="{CD86EC72-0B6A-45EA-B95C-282FCE8032D1}" type="presParOf" srcId="{A32F077C-1479-4B29-9A28-ECC4BCC65709}" destId="{832C1EC3-2E33-4D7D-952C-643ACD216B93}" srcOrd="2" destOrd="0" presId="urn:microsoft.com/office/officeart/2005/8/layout/orgChart1"/>
    <dgm:cxn modelId="{19ED44E1-443F-4668-BEBE-1A548604EBBC}" type="presParOf" srcId="{7BE6137E-0FF8-407D-AA6F-A68349DACCFE}" destId="{E080BD5A-0F52-41FA-9E33-67B92B68BEF3}" srcOrd="8" destOrd="0" presId="urn:microsoft.com/office/officeart/2005/8/layout/orgChart1"/>
    <dgm:cxn modelId="{570EA11A-F5E9-45F7-ABEB-FF42FF6A6D1C}" type="presParOf" srcId="{7BE6137E-0FF8-407D-AA6F-A68349DACCFE}" destId="{C69B9CB1-1A34-4970-8FAB-6C2C9C4F44C2}" srcOrd="9" destOrd="0" presId="urn:microsoft.com/office/officeart/2005/8/layout/orgChart1"/>
    <dgm:cxn modelId="{A7BBD3FE-21FD-4A5D-81D1-C9828FE9164A}" type="presParOf" srcId="{C69B9CB1-1A34-4970-8FAB-6C2C9C4F44C2}" destId="{0B35AE29-FF4B-4C67-A2F4-E27562F225FF}" srcOrd="0" destOrd="0" presId="urn:microsoft.com/office/officeart/2005/8/layout/orgChart1"/>
    <dgm:cxn modelId="{FDA2A08A-7735-453C-B2FA-AA6310B0C997}" type="presParOf" srcId="{0B35AE29-FF4B-4C67-A2F4-E27562F225FF}" destId="{5C7B4E66-8DB1-49B0-9D39-5DF370FB088A}" srcOrd="0" destOrd="0" presId="urn:microsoft.com/office/officeart/2005/8/layout/orgChart1"/>
    <dgm:cxn modelId="{5BB7CA86-8404-4812-8C17-84277A5AC3BC}" type="presParOf" srcId="{0B35AE29-FF4B-4C67-A2F4-E27562F225FF}" destId="{BC062FEE-9392-44EA-A449-1350D44E528B}" srcOrd="1" destOrd="0" presId="urn:microsoft.com/office/officeart/2005/8/layout/orgChart1"/>
    <dgm:cxn modelId="{BA53BFDB-0304-4F4A-8FC6-D4E78063E73F}" type="presParOf" srcId="{C69B9CB1-1A34-4970-8FAB-6C2C9C4F44C2}" destId="{12C9F167-B18B-45BC-9A30-9B7DD852465A}" srcOrd="1" destOrd="0" presId="urn:microsoft.com/office/officeart/2005/8/layout/orgChart1"/>
    <dgm:cxn modelId="{3EB34CD2-91CE-47C1-848C-EEDF227AB6DB}" type="presParOf" srcId="{12C9F167-B18B-45BC-9A30-9B7DD852465A}" destId="{F04C4F6F-185D-4AC9-8380-17A777E64A81}" srcOrd="0" destOrd="0" presId="urn:microsoft.com/office/officeart/2005/8/layout/orgChart1"/>
    <dgm:cxn modelId="{C6C96214-E338-43EB-8F58-4B39B498837F}" type="presParOf" srcId="{12C9F167-B18B-45BC-9A30-9B7DD852465A}" destId="{09ED3AED-7002-40B6-A148-CD38595376CF}" srcOrd="1" destOrd="0" presId="urn:microsoft.com/office/officeart/2005/8/layout/orgChart1"/>
    <dgm:cxn modelId="{6E0DDF48-5623-40D9-81FC-39BE10FD1EBC}" type="presParOf" srcId="{09ED3AED-7002-40B6-A148-CD38595376CF}" destId="{5E4AEE89-8B69-4A54-BEB3-F3F280D804D4}" srcOrd="0" destOrd="0" presId="urn:microsoft.com/office/officeart/2005/8/layout/orgChart1"/>
    <dgm:cxn modelId="{D757C374-F2B4-43B2-92C0-99B4EE4F1357}" type="presParOf" srcId="{5E4AEE89-8B69-4A54-BEB3-F3F280D804D4}" destId="{E0CC7251-A42F-43D9-9979-295794B15E2F}" srcOrd="0" destOrd="0" presId="urn:microsoft.com/office/officeart/2005/8/layout/orgChart1"/>
    <dgm:cxn modelId="{057FB0E4-5C72-4FDD-9EB5-5EE80A155CD6}" type="presParOf" srcId="{5E4AEE89-8B69-4A54-BEB3-F3F280D804D4}" destId="{73A025D7-873F-4E80-B4D9-82ED71481E03}" srcOrd="1" destOrd="0" presId="urn:microsoft.com/office/officeart/2005/8/layout/orgChart1"/>
    <dgm:cxn modelId="{71AC1700-A0D0-4F70-8E89-BFE0BCE22C65}" type="presParOf" srcId="{09ED3AED-7002-40B6-A148-CD38595376CF}" destId="{1C938225-8122-443A-97A9-E418A26642F3}" srcOrd="1" destOrd="0" presId="urn:microsoft.com/office/officeart/2005/8/layout/orgChart1"/>
    <dgm:cxn modelId="{28157238-6D60-484F-A0C2-D67E44CA64D5}" type="presParOf" srcId="{09ED3AED-7002-40B6-A148-CD38595376CF}" destId="{A46B8F64-94AB-4E3A-8B28-0D0EC36B4032}" srcOrd="2" destOrd="0" presId="urn:microsoft.com/office/officeart/2005/8/layout/orgChart1"/>
    <dgm:cxn modelId="{A421D5EF-CA5E-43D9-96CC-B339DA1053C2}" type="presParOf" srcId="{C69B9CB1-1A34-4970-8FAB-6C2C9C4F44C2}" destId="{15C3A668-84CD-4E8D-BE11-6423D056DE66}" srcOrd="2" destOrd="0" presId="urn:microsoft.com/office/officeart/2005/8/layout/orgChart1"/>
    <dgm:cxn modelId="{F71466EC-6538-46B2-8377-E1396A14E4D0}" type="presParOf" srcId="{38FF866D-AE7E-4158-9EA1-91E352D566FF}" destId="{531526AB-E89C-458E-9A88-E313E1D976F4}" srcOrd="2" destOrd="0" presId="urn:microsoft.com/office/officeart/2005/8/layout/orgChart1"/>
    <dgm:cxn modelId="{672C2C8C-156F-4E4A-BEB8-A9A61211E26C}" type="presParOf" srcId="{784E6A4A-DBCD-4ADB-BBA5-2A4078DA905D}" destId="{99694D68-083C-4C7D-A9BC-D857EE07290F}" srcOrd="2" destOrd="0" presId="urn:microsoft.com/office/officeart/2005/8/layout/orgChart1"/>
    <dgm:cxn modelId="{4EFF35BF-0DE4-46F5-928D-F35F166D4A07}" type="presParOf" srcId="{784E6A4A-DBCD-4ADB-BBA5-2A4078DA905D}" destId="{4748D76A-F135-4E76-8C6F-BDAF511E7CEB}" srcOrd="3" destOrd="0" presId="urn:microsoft.com/office/officeart/2005/8/layout/orgChart1"/>
    <dgm:cxn modelId="{93138768-0195-4E76-83DE-DA9D9DF3900C}" type="presParOf" srcId="{4748D76A-F135-4E76-8C6F-BDAF511E7CEB}" destId="{276368F2-5D6D-4CE6-8DB5-C70554D07E0D}" srcOrd="0" destOrd="0" presId="urn:microsoft.com/office/officeart/2005/8/layout/orgChart1"/>
    <dgm:cxn modelId="{1B7D177C-8AC9-47C3-8051-7ADE68028C44}" type="presParOf" srcId="{276368F2-5D6D-4CE6-8DB5-C70554D07E0D}" destId="{A891F834-B739-404A-ADAF-39E2B49CE751}" srcOrd="0" destOrd="0" presId="urn:microsoft.com/office/officeart/2005/8/layout/orgChart1"/>
    <dgm:cxn modelId="{435DBFB4-A456-4A5B-8A76-91588F26B77A}" type="presParOf" srcId="{276368F2-5D6D-4CE6-8DB5-C70554D07E0D}" destId="{254E5BB0-C7C6-454A-9E81-D365739460A1}" srcOrd="1" destOrd="0" presId="urn:microsoft.com/office/officeart/2005/8/layout/orgChart1"/>
    <dgm:cxn modelId="{E357CD8F-93FE-4D58-B3FC-D7E2962CF260}" type="presParOf" srcId="{4748D76A-F135-4E76-8C6F-BDAF511E7CEB}" destId="{9B22D49A-E3F3-4305-A5A9-7D7CE8545790}" srcOrd="1" destOrd="0" presId="urn:microsoft.com/office/officeart/2005/8/layout/orgChart1"/>
    <dgm:cxn modelId="{C6367888-181E-4800-A8AD-7ACFC21499EE}" type="presParOf" srcId="{4748D76A-F135-4E76-8C6F-BDAF511E7CEB}" destId="{EEB40C51-3466-4D8C-8B18-5097C739DE75}" srcOrd="2" destOrd="0" presId="urn:microsoft.com/office/officeart/2005/8/layout/orgChart1"/>
    <dgm:cxn modelId="{FB51809F-3A31-42C3-BA8B-AF3DE1BAC42D}" type="presParOf" srcId="{51E3848A-BD05-4FE8-8DFF-DE5C9B376ADB}" destId="{F9AD358A-4765-416E-A018-0D2E8F5D290A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B817CB3-6ADF-4F68-B7E5-6C028D14F7AC}" type="doc">
      <dgm:prSet loTypeId="urn:microsoft.com/office/officeart/2005/8/layout/process2" loCatId="process" qsTypeId="urn:microsoft.com/office/officeart/2005/8/quickstyle/simple1" qsCatId="simple" csTypeId="urn:microsoft.com/office/officeart/2005/8/colors/accent0_3" csCatId="mainScheme" phldr="1"/>
      <dgm:spPr/>
    </dgm:pt>
    <dgm:pt modelId="{268723ED-8F2E-4FD1-A3B9-698CDF1CABFC}">
      <dgm:prSet phldrT="[Text]"/>
      <dgm:spPr/>
      <dgm:t>
        <a:bodyPr/>
        <a:lstStyle/>
        <a:p>
          <a:r>
            <a:rPr lang="de-DE" dirty="0" smtClean="0"/>
            <a:t>Anforderungen</a:t>
          </a:r>
          <a:endParaRPr lang="de-DE" dirty="0"/>
        </a:p>
      </dgm:t>
    </dgm:pt>
    <dgm:pt modelId="{0441D12B-F3C1-4214-8D9B-59653B8A321E}" type="parTrans" cxnId="{9D01664F-040B-40D7-9BF4-94903B61A6AA}">
      <dgm:prSet/>
      <dgm:spPr/>
      <dgm:t>
        <a:bodyPr/>
        <a:lstStyle/>
        <a:p>
          <a:endParaRPr lang="de-DE"/>
        </a:p>
      </dgm:t>
    </dgm:pt>
    <dgm:pt modelId="{E089F43F-372C-4F96-8878-DD4853DB2FD5}" type="sibTrans" cxnId="{9D01664F-040B-40D7-9BF4-94903B61A6AA}">
      <dgm:prSet/>
      <dgm:spPr/>
      <dgm:t>
        <a:bodyPr/>
        <a:lstStyle/>
        <a:p>
          <a:endParaRPr lang="de-DE"/>
        </a:p>
      </dgm:t>
    </dgm:pt>
    <dgm:pt modelId="{1D7A7D16-60C3-4B01-BE71-0268D4C9E532}">
      <dgm:prSet phldrT="[Text]"/>
      <dgm:spPr/>
      <dgm:t>
        <a:bodyPr/>
        <a:lstStyle/>
        <a:p>
          <a:r>
            <a:rPr lang="de-DE" dirty="0" smtClean="0"/>
            <a:t>Entwurf</a:t>
          </a:r>
          <a:endParaRPr lang="de-DE" dirty="0"/>
        </a:p>
      </dgm:t>
    </dgm:pt>
    <dgm:pt modelId="{FAAF06CE-28F9-4916-86AC-106DAAB6F4C6}" type="parTrans" cxnId="{9322E555-846A-471A-92CD-F55C99A48D8B}">
      <dgm:prSet/>
      <dgm:spPr/>
      <dgm:t>
        <a:bodyPr/>
        <a:lstStyle/>
        <a:p>
          <a:endParaRPr lang="de-DE"/>
        </a:p>
      </dgm:t>
    </dgm:pt>
    <dgm:pt modelId="{4A5DEF0B-8FAD-49C1-8ADF-D9E4F4203F5C}" type="sibTrans" cxnId="{9322E555-846A-471A-92CD-F55C99A48D8B}">
      <dgm:prSet/>
      <dgm:spPr/>
      <dgm:t>
        <a:bodyPr/>
        <a:lstStyle/>
        <a:p>
          <a:endParaRPr lang="de-DE"/>
        </a:p>
      </dgm:t>
    </dgm:pt>
    <dgm:pt modelId="{E56A53B9-DBB5-4B0C-A8B6-9BB3EA4CFC72}">
      <dgm:prSet phldrT="[Text]"/>
      <dgm:spPr/>
      <dgm:t>
        <a:bodyPr/>
        <a:lstStyle/>
        <a:p>
          <a:r>
            <a:rPr lang="de-DE" dirty="0" smtClean="0"/>
            <a:t>Implementation</a:t>
          </a:r>
          <a:endParaRPr lang="de-DE" dirty="0"/>
        </a:p>
      </dgm:t>
    </dgm:pt>
    <dgm:pt modelId="{7A4C7F7F-F0E6-43B1-B608-5782784B4229}" type="parTrans" cxnId="{703D17AA-A81A-43F5-BD26-73F3CB219F2E}">
      <dgm:prSet/>
      <dgm:spPr/>
      <dgm:t>
        <a:bodyPr/>
        <a:lstStyle/>
        <a:p>
          <a:endParaRPr lang="de-DE"/>
        </a:p>
      </dgm:t>
    </dgm:pt>
    <dgm:pt modelId="{EA1C06B0-593A-4C32-BF23-4C10D25A9D33}" type="sibTrans" cxnId="{703D17AA-A81A-43F5-BD26-73F3CB219F2E}">
      <dgm:prSet/>
      <dgm:spPr/>
      <dgm:t>
        <a:bodyPr/>
        <a:lstStyle/>
        <a:p>
          <a:endParaRPr lang="de-DE"/>
        </a:p>
      </dgm:t>
    </dgm:pt>
    <dgm:pt modelId="{DED8FC06-5B22-4D2A-9317-CE039FAEABF6}">
      <dgm:prSet phldrT="[Text]"/>
      <dgm:spPr/>
      <dgm:t>
        <a:bodyPr/>
        <a:lstStyle/>
        <a:p>
          <a:r>
            <a:rPr lang="de-DE" dirty="0" smtClean="0"/>
            <a:t>Test</a:t>
          </a:r>
          <a:endParaRPr lang="de-DE" dirty="0"/>
        </a:p>
      </dgm:t>
    </dgm:pt>
    <dgm:pt modelId="{00176D74-14A1-4158-9DA7-171D1A7AA3C0}" type="parTrans" cxnId="{244039F1-FC0B-4467-A55B-21C9CE2CF2DB}">
      <dgm:prSet/>
      <dgm:spPr/>
      <dgm:t>
        <a:bodyPr/>
        <a:lstStyle/>
        <a:p>
          <a:endParaRPr lang="de-DE"/>
        </a:p>
      </dgm:t>
    </dgm:pt>
    <dgm:pt modelId="{F95BBF4A-1CA5-45FF-BC6C-A78961D8D1E4}" type="sibTrans" cxnId="{244039F1-FC0B-4467-A55B-21C9CE2CF2DB}">
      <dgm:prSet/>
      <dgm:spPr/>
      <dgm:t>
        <a:bodyPr/>
        <a:lstStyle/>
        <a:p>
          <a:endParaRPr lang="de-DE"/>
        </a:p>
      </dgm:t>
    </dgm:pt>
    <dgm:pt modelId="{5A20927B-F9D1-4139-8251-EC441D8EAC18}" type="pres">
      <dgm:prSet presAssocID="{FB817CB3-6ADF-4F68-B7E5-6C028D14F7AC}" presName="linearFlow" presStyleCnt="0">
        <dgm:presLayoutVars>
          <dgm:resizeHandles val="exact"/>
        </dgm:presLayoutVars>
      </dgm:prSet>
      <dgm:spPr/>
    </dgm:pt>
    <dgm:pt modelId="{38AEF183-8976-4D6D-B8DB-BE7873C3C457}" type="pres">
      <dgm:prSet presAssocID="{268723ED-8F2E-4FD1-A3B9-698CDF1CABFC}" presName="node" presStyleLbl="node1" presStyleIdx="0" presStyleCnt="4">
        <dgm:presLayoutVars>
          <dgm:bulletEnabled val="1"/>
        </dgm:presLayoutVars>
      </dgm:prSet>
      <dgm:spPr/>
    </dgm:pt>
    <dgm:pt modelId="{BAD7675E-7C7D-4ACB-B963-A17C40E8295A}" type="pres">
      <dgm:prSet presAssocID="{E089F43F-372C-4F96-8878-DD4853DB2FD5}" presName="sibTrans" presStyleLbl="sibTrans2D1" presStyleIdx="0" presStyleCnt="3"/>
      <dgm:spPr/>
    </dgm:pt>
    <dgm:pt modelId="{D06DF28A-5CBA-4C59-A62A-5BEED959DE9B}" type="pres">
      <dgm:prSet presAssocID="{E089F43F-372C-4F96-8878-DD4853DB2FD5}" presName="connectorText" presStyleLbl="sibTrans2D1" presStyleIdx="0" presStyleCnt="3"/>
      <dgm:spPr/>
    </dgm:pt>
    <dgm:pt modelId="{84DBEE8B-E730-490C-978B-13114ED184C7}" type="pres">
      <dgm:prSet presAssocID="{1D7A7D16-60C3-4B01-BE71-0268D4C9E532}" presName="node" presStyleLbl="node1" presStyleIdx="1" presStyleCnt="4">
        <dgm:presLayoutVars>
          <dgm:bulletEnabled val="1"/>
        </dgm:presLayoutVars>
      </dgm:prSet>
      <dgm:spPr/>
    </dgm:pt>
    <dgm:pt modelId="{450BA7A0-6055-4B50-8F72-1A4BDF96CCAE}" type="pres">
      <dgm:prSet presAssocID="{4A5DEF0B-8FAD-49C1-8ADF-D9E4F4203F5C}" presName="sibTrans" presStyleLbl="sibTrans2D1" presStyleIdx="1" presStyleCnt="3"/>
      <dgm:spPr/>
    </dgm:pt>
    <dgm:pt modelId="{D1F6A706-B30F-4193-BD25-90C7E0426719}" type="pres">
      <dgm:prSet presAssocID="{4A5DEF0B-8FAD-49C1-8ADF-D9E4F4203F5C}" presName="connectorText" presStyleLbl="sibTrans2D1" presStyleIdx="1" presStyleCnt="3"/>
      <dgm:spPr/>
    </dgm:pt>
    <dgm:pt modelId="{933D262C-DE50-475D-8160-C8F6B7E5540A}" type="pres">
      <dgm:prSet presAssocID="{E56A53B9-DBB5-4B0C-A8B6-9BB3EA4CFC72}" presName="node" presStyleLbl="node1" presStyleIdx="2" presStyleCnt="4">
        <dgm:presLayoutVars>
          <dgm:bulletEnabled val="1"/>
        </dgm:presLayoutVars>
      </dgm:prSet>
      <dgm:spPr/>
    </dgm:pt>
    <dgm:pt modelId="{26F2D686-F7C1-4FFE-AA65-E72495FC7028}" type="pres">
      <dgm:prSet presAssocID="{EA1C06B0-593A-4C32-BF23-4C10D25A9D33}" presName="sibTrans" presStyleLbl="sibTrans2D1" presStyleIdx="2" presStyleCnt="3"/>
      <dgm:spPr/>
    </dgm:pt>
    <dgm:pt modelId="{27768625-DAFE-47D9-9E76-09D12148762D}" type="pres">
      <dgm:prSet presAssocID="{EA1C06B0-593A-4C32-BF23-4C10D25A9D33}" presName="connectorText" presStyleLbl="sibTrans2D1" presStyleIdx="2" presStyleCnt="3"/>
      <dgm:spPr/>
    </dgm:pt>
    <dgm:pt modelId="{1DF114FB-8AA3-4185-954C-E0B68EDC1F96}" type="pres">
      <dgm:prSet presAssocID="{DED8FC06-5B22-4D2A-9317-CE039FAEABF6}" presName="node" presStyleLbl="node1" presStyleIdx="3" presStyleCnt="4">
        <dgm:presLayoutVars>
          <dgm:bulletEnabled val="1"/>
        </dgm:presLayoutVars>
      </dgm:prSet>
      <dgm:spPr/>
    </dgm:pt>
  </dgm:ptLst>
  <dgm:cxnLst>
    <dgm:cxn modelId="{67023546-A581-4B90-9634-19E025F0528F}" type="presOf" srcId="{4A5DEF0B-8FAD-49C1-8ADF-D9E4F4203F5C}" destId="{450BA7A0-6055-4B50-8F72-1A4BDF96CCAE}" srcOrd="0" destOrd="0" presId="urn:microsoft.com/office/officeart/2005/8/layout/process2"/>
    <dgm:cxn modelId="{22C5E14B-34E3-46A0-8333-6869930A253F}" type="presOf" srcId="{E089F43F-372C-4F96-8878-DD4853DB2FD5}" destId="{D06DF28A-5CBA-4C59-A62A-5BEED959DE9B}" srcOrd="1" destOrd="0" presId="urn:microsoft.com/office/officeart/2005/8/layout/process2"/>
    <dgm:cxn modelId="{9322E555-846A-471A-92CD-F55C99A48D8B}" srcId="{FB817CB3-6ADF-4F68-B7E5-6C028D14F7AC}" destId="{1D7A7D16-60C3-4B01-BE71-0268D4C9E532}" srcOrd="1" destOrd="0" parTransId="{FAAF06CE-28F9-4916-86AC-106DAAB6F4C6}" sibTransId="{4A5DEF0B-8FAD-49C1-8ADF-D9E4F4203F5C}"/>
    <dgm:cxn modelId="{9D01664F-040B-40D7-9BF4-94903B61A6AA}" srcId="{FB817CB3-6ADF-4F68-B7E5-6C028D14F7AC}" destId="{268723ED-8F2E-4FD1-A3B9-698CDF1CABFC}" srcOrd="0" destOrd="0" parTransId="{0441D12B-F3C1-4214-8D9B-59653B8A321E}" sibTransId="{E089F43F-372C-4F96-8878-DD4853DB2FD5}"/>
    <dgm:cxn modelId="{30F356F7-9C00-43E9-A185-52D0CE5BA65A}" type="presOf" srcId="{FB817CB3-6ADF-4F68-B7E5-6C028D14F7AC}" destId="{5A20927B-F9D1-4139-8251-EC441D8EAC18}" srcOrd="0" destOrd="0" presId="urn:microsoft.com/office/officeart/2005/8/layout/process2"/>
    <dgm:cxn modelId="{CFFB2A62-174E-4E9A-B865-8DDB5C563152}" type="presOf" srcId="{268723ED-8F2E-4FD1-A3B9-698CDF1CABFC}" destId="{38AEF183-8976-4D6D-B8DB-BE7873C3C457}" srcOrd="0" destOrd="0" presId="urn:microsoft.com/office/officeart/2005/8/layout/process2"/>
    <dgm:cxn modelId="{C4E44877-4252-43DB-902B-53349E5355B4}" type="presOf" srcId="{DED8FC06-5B22-4D2A-9317-CE039FAEABF6}" destId="{1DF114FB-8AA3-4185-954C-E0B68EDC1F96}" srcOrd="0" destOrd="0" presId="urn:microsoft.com/office/officeart/2005/8/layout/process2"/>
    <dgm:cxn modelId="{E7FEF115-5332-46DF-9175-E23B1C0032D5}" type="presOf" srcId="{E56A53B9-DBB5-4B0C-A8B6-9BB3EA4CFC72}" destId="{933D262C-DE50-475D-8160-C8F6B7E5540A}" srcOrd="0" destOrd="0" presId="urn:microsoft.com/office/officeart/2005/8/layout/process2"/>
    <dgm:cxn modelId="{244039F1-FC0B-4467-A55B-21C9CE2CF2DB}" srcId="{FB817CB3-6ADF-4F68-B7E5-6C028D14F7AC}" destId="{DED8FC06-5B22-4D2A-9317-CE039FAEABF6}" srcOrd="3" destOrd="0" parTransId="{00176D74-14A1-4158-9DA7-171D1A7AA3C0}" sibTransId="{F95BBF4A-1CA5-45FF-BC6C-A78961D8D1E4}"/>
    <dgm:cxn modelId="{A1CF1D76-9DD9-4741-96A0-41A45D5298BF}" type="presOf" srcId="{E089F43F-372C-4F96-8878-DD4853DB2FD5}" destId="{BAD7675E-7C7D-4ACB-B963-A17C40E8295A}" srcOrd="0" destOrd="0" presId="urn:microsoft.com/office/officeart/2005/8/layout/process2"/>
    <dgm:cxn modelId="{037C1BD6-633B-4BA5-83BF-B6D9C6F08998}" type="presOf" srcId="{EA1C06B0-593A-4C32-BF23-4C10D25A9D33}" destId="{27768625-DAFE-47D9-9E76-09D12148762D}" srcOrd="1" destOrd="0" presId="urn:microsoft.com/office/officeart/2005/8/layout/process2"/>
    <dgm:cxn modelId="{703D17AA-A81A-43F5-BD26-73F3CB219F2E}" srcId="{FB817CB3-6ADF-4F68-B7E5-6C028D14F7AC}" destId="{E56A53B9-DBB5-4B0C-A8B6-9BB3EA4CFC72}" srcOrd="2" destOrd="0" parTransId="{7A4C7F7F-F0E6-43B1-B608-5782784B4229}" sibTransId="{EA1C06B0-593A-4C32-BF23-4C10D25A9D33}"/>
    <dgm:cxn modelId="{0DB7F497-D45A-4202-8C06-19CF4E61FF4F}" type="presOf" srcId="{4A5DEF0B-8FAD-49C1-8ADF-D9E4F4203F5C}" destId="{D1F6A706-B30F-4193-BD25-90C7E0426719}" srcOrd="1" destOrd="0" presId="urn:microsoft.com/office/officeart/2005/8/layout/process2"/>
    <dgm:cxn modelId="{345C6F71-A666-4853-B462-B88CD81F1187}" type="presOf" srcId="{1D7A7D16-60C3-4B01-BE71-0268D4C9E532}" destId="{84DBEE8B-E730-490C-978B-13114ED184C7}" srcOrd="0" destOrd="0" presId="urn:microsoft.com/office/officeart/2005/8/layout/process2"/>
    <dgm:cxn modelId="{36EA7660-5C63-4C3C-B329-5E56896FDE68}" type="presOf" srcId="{EA1C06B0-593A-4C32-BF23-4C10D25A9D33}" destId="{26F2D686-F7C1-4FFE-AA65-E72495FC7028}" srcOrd="0" destOrd="0" presId="urn:microsoft.com/office/officeart/2005/8/layout/process2"/>
    <dgm:cxn modelId="{51EBFE69-1899-460D-9B8E-B708337380BB}" type="presParOf" srcId="{5A20927B-F9D1-4139-8251-EC441D8EAC18}" destId="{38AEF183-8976-4D6D-B8DB-BE7873C3C457}" srcOrd="0" destOrd="0" presId="urn:microsoft.com/office/officeart/2005/8/layout/process2"/>
    <dgm:cxn modelId="{37E12F52-E2CC-4CC2-A94C-61C0CEF907F8}" type="presParOf" srcId="{5A20927B-F9D1-4139-8251-EC441D8EAC18}" destId="{BAD7675E-7C7D-4ACB-B963-A17C40E8295A}" srcOrd="1" destOrd="0" presId="urn:microsoft.com/office/officeart/2005/8/layout/process2"/>
    <dgm:cxn modelId="{FEF602FA-6CFE-4418-857E-B543513DFAD3}" type="presParOf" srcId="{BAD7675E-7C7D-4ACB-B963-A17C40E8295A}" destId="{D06DF28A-5CBA-4C59-A62A-5BEED959DE9B}" srcOrd="0" destOrd="0" presId="urn:microsoft.com/office/officeart/2005/8/layout/process2"/>
    <dgm:cxn modelId="{B8DB1567-133D-4C20-873B-C4D7498E2E05}" type="presParOf" srcId="{5A20927B-F9D1-4139-8251-EC441D8EAC18}" destId="{84DBEE8B-E730-490C-978B-13114ED184C7}" srcOrd="2" destOrd="0" presId="urn:microsoft.com/office/officeart/2005/8/layout/process2"/>
    <dgm:cxn modelId="{53F185C9-95F8-4E01-987E-B107E7D692D6}" type="presParOf" srcId="{5A20927B-F9D1-4139-8251-EC441D8EAC18}" destId="{450BA7A0-6055-4B50-8F72-1A4BDF96CCAE}" srcOrd="3" destOrd="0" presId="urn:microsoft.com/office/officeart/2005/8/layout/process2"/>
    <dgm:cxn modelId="{97FAC835-606F-42CD-98BA-9C5FE8E77DDE}" type="presParOf" srcId="{450BA7A0-6055-4B50-8F72-1A4BDF96CCAE}" destId="{D1F6A706-B30F-4193-BD25-90C7E0426719}" srcOrd="0" destOrd="0" presId="urn:microsoft.com/office/officeart/2005/8/layout/process2"/>
    <dgm:cxn modelId="{8DE1DF84-E6AE-4DF0-AB33-693697598D95}" type="presParOf" srcId="{5A20927B-F9D1-4139-8251-EC441D8EAC18}" destId="{933D262C-DE50-475D-8160-C8F6B7E5540A}" srcOrd="4" destOrd="0" presId="urn:microsoft.com/office/officeart/2005/8/layout/process2"/>
    <dgm:cxn modelId="{2BD97744-45A2-4BBA-9061-98515720A226}" type="presParOf" srcId="{5A20927B-F9D1-4139-8251-EC441D8EAC18}" destId="{26F2D686-F7C1-4FFE-AA65-E72495FC7028}" srcOrd="5" destOrd="0" presId="urn:microsoft.com/office/officeart/2005/8/layout/process2"/>
    <dgm:cxn modelId="{98E86A4E-B94D-4464-955E-3E4FB0A28C39}" type="presParOf" srcId="{26F2D686-F7C1-4FFE-AA65-E72495FC7028}" destId="{27768625-DAFE-47D9-9E76-09D12148762D}" srcOrd="0" destOrd="0" presId="urn:microsoft.com/office/officeart/2005/8/layout/process2"/>
    <dgm:cxn modelId="{2D141954-565D-4963-A904-633406BA7145}" type="presParOf" srcId="{5A20927B-F9D1-4139-8251-EC441D8EAC18}" destId="{1DF114FB-8AA3-4185-954C-E0B68EDC1F96}" srcOrd="6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9694D68-083C-4C7D-A9BC-D857EE07290F}">
      <dsp:nvSpPr>
        <dsp:cNvPr id="0" name=""/>
        <dsp:cNvSpPr/>
      </dsp:nvSpPr>
      <dsp:spPr>
        <a:xfrm>
          <a:off x="6556975" y="1556285"/>
          <a:ext cx="1125268" cy="3905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5294"/>
              </a:lnTo>
              <a:lnTo>
                <a:pt x="1125268" y="195294"/>
              </a:lnTo>
              <a:lnTo>
                <a:pt x="1125268" y="390589"/>
              </a:lnTo>
            </a:path>
          </a:pathLst>
        </a:custGeom>
        <a:noFill/>
        <a:ln w="25400" cap="flat" cmpd="sng" algn="ctr">
          <a:solidFill>
            <a:schemeClr val="dk1"/>
          </a:solidFill>
          <a:prstDash val="solid"/>
        </a:ln>
        <a:effectLst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</dsp:sp>
    <dsp:sp modelId="{F04C4F6F-185D-4AC9-8380-17A777E64A81}">
      <dsp:nvSpPr>
        <dsp:cNvPr id="0" name=""/>
        <dsp:cNvSpPr/>
      </dsp:nvSpPr>
      <dsp:spPr>
        <a:xfrm>
          <a:off x="9188802" y="4197411"/>
          <a:ext cx="278992" cy="70309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03093"/>
              </a:lnTo>
              <a:lnTo>
                <a:pt x="278992" y="703093"/>
              </a:lnTo>
            </a:path>
          </a:pathLst>
        </a:custGeom>
        <a:noFill/>
        <a:ln w="25400" cap="flat" cmpd="sng" algn="ctr">
          <a:solidFill>
            <a:schemeClr val="dk1"/>
          </a:solidFill>
          <a:prstDash val="solid"/>
        </a:ln>
        <a:effectLst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</dsp:sp>
    <dsp:sp modelId="{E080BD5A-0F52-41FA-9E33-67B92B68BEF3}">
      <dsp:nvSpPr>
        <dsp:cNvPr id="0" name=""/>
        <dsp:cNvSpPr/>
      </dsp:nvSpPr>
      <dsp:spPr>
        <a:xfrm>
          <a:off x="5431706" y="2876848"/>
          <a:ext cx="4501075" cy="3905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5294"/>
              </a:lnTo>
              <a:lnTo>
                <a:pt x="4501075" y="195294"/>
              </a:lnTo>
              <a:lnTo>
                <a:pt x="4501075" y="390589"/>
              </a:lnTo>
            </a:path>
          </a:pathLst>
        </a:custGeom>
        <a:noFill/>
        <a:ln w="25400" cap="flat" cmpd="sng" algn="ctr">
          <a:solidFill>
            <a:schemeClr val="dk1"/>
          </a:solidFill>
          <a:prstDash val="solid"/>
        </a:ln>
        <a:effectLst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</dsp:sp>
    <dsp:sp modelId="{04D285D5-F122-4FD8-84BA-E6628634B012}">
      <dsp:nvSpPr>
        <dsp:cNvPr id="0" name=""/>
        <dsp:cNvSpPr/>
      </dsp:nvSpPr>
      <dsp:spPr>
        <a:xfrm>
          <a:off x="6938264" y="4197411"/>
          <a:ext cx="278992" cy="70309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03093"/>
              </a:lnTo>
              <a:lnTo>
                <a:pt x="278992" y="703093"/>
              </a:lnTo>
            </a:path>
          </a:pathLst>
        </a:custGeom>
        <a:noFill/>
        <a:ln w="25400" cap="flat" cmpd="sng" algn="ctr">
          <a:solidFill>
            <a:schemeClr val="dk1"/>
          </a:solidFill>
          <a:prstDash val="solid"/>
        </a:ln>
        <a:effectLst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</dsp:sp>
    <dsp:sp modelId="{3504AD66-3E99-404C-8BD4-FFF43ACB32FB}">
      <dsp:nvSpPr>
        <dsp:cNvPr id="0" name=""/>
        <dsp:cNvSpPr/>
      </dsp:nvSpPr>
      <dsp:spPr>
        <a:xfrm>
          <a:off x="5431706" y="2876848"/>
          <a:ext cx="2250537" cy="3905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5294"/>
              </a:lnTo>
              <a:lnTo>
                <a:pt x="2250537" y="195294"/>
              </a:lnTo>
              <a:lnTo>
                <a:pt x="2250537" y="390589"/>
              </a:lnTo>
            </a:path>
          </a:pathLst>
        </a:custGeom>
        <a:noFill/>
        <a:ln w="25400" cap="flat" cmpd="sng" algn="ctr">
          <a:solidFill>
            <a:schemeClr val="dk1"/>
          </a:solidFill>
          <a:prstDash val="solid"/>
        </a:ln>
        <a:effectLst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</dsp:sp>
    <dsp:sp modelId="{7F66A34E-DAB1-45D2-91C0-F1C240313E9A}">
      <dsp:nvSpPr>
        <dsp:cNvPr id="0" name=""/>
        <dsp:cNvSpPr/>
      </dsp:nvSpPr>
      <dsp:spPr>
        <a:xfrm>
          <a:off x="4687727" y="4197411"/>
          <a:ext cx="278992" cy="70309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03093"/>
              </a:lnTo>
              <a:lnTo>
                <a:pt x="278992" y="703093"/>
              </a:lnTo>
            </a:path>
          </a:pathLst>
        </a:custGeom>
        <a:noFill/>
        <a:ln w="25400" cap="flat" cmpd="sng" algn="ctr">
          <a:solidFill>
            <a:schemeClr val="dk1"/>
          </a:solidFill>
          <a:prstDash val="solid"/>
        </a:ln>
        <a:effectLst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</dsp:sp>
    <dsp:sp modelId="{1E4C90C0-C486-40D7-8AD0-01D437E3F1E6}">
      <dsp:nvSpPr>
        <dsp:cNvPr id="0" name=""/>
        <dsp:cNvSpPr/>
      </dsp:nvSpPr>
      <dsp:spPr>
        <a:xfrm>
          <a:off x="5385986" y="2876848"/>
          <a:ext cx="91440" cy="39058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90589"/>
              </a:lnTo>
            </a:path>
          </a:pathLst>
        </a:custGeom>
        <a:noFill/>
        <a:ln w="25400" cap="flat" cmpd="sng" algn="ctr">
          <a:solidFill>
            <a:schemeClr val="dk1"/>
          </a:solidFill>
          <a:prstDash val="solid"/>
        </a:ln>
        <a:effectLst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</dsp:sp>
    <dsp:sp modelId="{5C261296-8F83-4F8E-BED1-E4BFA8C4E852}">
      <dsp:nvSpPr>
        <dsp:cNvPr id="0" name=""/>
        <dsp:cNvSpPr/>
      </dsp:nvSpPr>
      <dsp:spPr>
        <a:xfrm>
          <a:off x="2437189" y="4197411"/>
          <a:ext cx="278992" cy="70309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03093"/>
              </a:lnTo>
              <a:lnTo>
                <a:pt x="278992" y="703093"/>
              </a:lnTo>
            </a:path>
          </a:pathLst>
        </a:custGeom>
        <a:noFill/>
        <a:ln w="25400" cap="flat" cmpd="sng" algn="ctr">
          <a:solidFill>
            <a:schemeClr val="dk1"/>
          </a:solidFill>
          <a:prstDash val="solid"/>
        </a:ln>
        <a:effectLst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</dsp:sp>
    <dsp:sp modelId="{F17863FA-C62C-4146-8239-D4EA8251DF45}">
      <dsp:nvSpPr>
        <dsp:cNvPr id="0" name=""/>
        <dsp:cNvSpPr/>
      </dsp:nvSpPr>
      <dsp:spPr>
        <a:xfrm>
          <a:off x="3181168" y="2876848"/>
          <a:ext cx="2250537" cy="390589"/>
        </a:xfrm>
        <a:custGeom>
          <a:avLst/>
          <a:gdLst/>
          <a:ahLst/>
          <a:cxnLst/>
          <a:rect l="0" t="0" r="0" b="0"/>
          <a:pathLst>
            <a:path>
              <a:moveTo>
                <a:pt x="2250537" y="0"/>
              </a:moveTo>
              <a:lnTo>
                <a:pt x="2250537" y="195294"/>
              </a:lnTo>
              <a:lnTo>
                <a:pt x="0" y="195294"/>
              </a:lnTo>
              <a:lnTo>
                <a:pt x="0" y="390589"/>
              </a:lnTo>
            </a:path>
          </a:pathLst>
        </a:custGeom>
        <a:noFill/>
        <a:ln w="25400" cap="flat" cmpd="sng" algn="ctr">
          <a:solidFill>
            <a:schemeClr val="dk1"/>
          </a:solidFill>
          <a:prstDash val="solid"/>
        </a:ln>
        <a:effectLst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</dsp:sp>
    <dsp:sp modelId="{A2EF4654-453F-43E1-85B5-8AC798AEEBBB}">
      <dsp:nvSpPr>
        <dsp:cNvPr id="0" name=""/>
        <dsp:cNvSpPr/>
      </dsp:nvSpPr>
      <dsp:spPr>
        <a:xfrm>
          <a:off x="186651" y="4197411"/>
          <a:ext cx="278992" cy="70309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03093"/>
              </a:lnTo>
              <a:lnTo>
                <a:pt x="278992" y="703093"/>
              </a:lnTo>
            </a:path>
          </a:pathLst>
        </a:custGeom>
        <a:noFill/>
        <a:ln w="25400" cap="flat" cmpd="sng" algn="ctr">
          <a:solidFill>
            <a:schemeClr val="dk1"/>
          </a:solidFill>
          <a:prstDash val="solid"/>
        </a:ln>
        <a:effectLst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</dsp:sp>
    <dsp:sp modelId="{17EDFC4E-631B-4080-BC57-8F9D18A93AA1}">
      <dsp:nvSpPr>
        <dsp:cNvPr id="0" name=""/>
        <dsp:cNvSpPr/>
      </dsp:nvSpPr>
      <dsp:spPr>
        <a:xfrm>
          <a:off x="930631" y="2876848"/>
          <a:ext cx="4501075" cy="390589"/>
        </a:xfrm>
        <a:custGeom>
          <a:avLst/>
          <a:gdLst/>
          <a:ahLst/>
          <a:cxnLst/>
          <a:rect l="0" t="0" r="0" b="0"/>
          <a:pathLst>
            <a:path>
              <a:moveTo>
                <a:pt x="4501075" y="0"/>
              </a:moveTo>
              <a:lnTo>
                <a:pt x="4501075" y="195294"/>
              </a:lnTo>
              <a:lnTo>
                <a:pt x="0" y="195294"/>
              </a:lnTo>
              <a:lnTo>
                <a:pt x="0" y="390589"/>
              </a:lnTo>
            </a:path>
          </a:pathLst>
        </a:custGeom>
        <a:noFill/>
        <a:ln w="25400" cap="flat" cmpd="sng" algn="ctr">
          <a:solidFill>
            <a:schemeClr val="dk1"/>
          </a:solidFill>
          <a:prstDash val="solid"/>
        </a:ln>
        <a:effectLst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</dsp:sp>
    <dsp:sp modelId="{6F539988-1513-4AC3-9836-91C776A937F7}">
      <dsp:nvSpPr>
        <dsp:cNvPr id="0" name=""/>
        <dsp:cNvSpPr/>
      </dsp:nvSpPr>
      <dsp:spPr>
        <a:xfrm>
          <a:off x="5431706" y="1556285"/>
          <a:ext cx="1125268" cy="390589"/>
        </a:xfrm>
        <a:custGeom>
          <a:avLst/>
          <a:gdLst/>
          <a:ahLst/>
          <a:cxnLst/>
          <a:rect l="0" t="0" r="0" b="0"/>
          <a:pathLst>
            <a:path>
              <a:moveTo>
                <a:pt x="1125268" y="0"/>
              </a:moveTo>
              <a:lnTo>
                <a:pt x="1125268" y="195294"/>
              </a:lnTo>
              <a:lnTo>
                <a:pt x="0" y="195294"/>
              </a:lnTo>
              <a:lnTo>
                <a:pt x="0" y="390589"/>
              </a:lnTo>
            </a:path>
          </a:pathLst>
        </a:custGeom>
        <a:noFill/>
        <a:ln w="25400" cap="flat" cmpd="sng" algn="ctr">
          <a:solidFill>
            <a:schemeClr val="dk1"/>
          </a:solidFill>
          <a:prstDash val="solid"/>
        </a:ln>
        <a:effectLst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</dsp:sp>
    <dsp:sp modelId="{8ED4AB53-3BB7-46E8-B78B-88FF097A4407}">
      <dsp:nvSpPr>
        <dsp:cNvPr id="0" name=""/>
        <dsp:cNvSpPr/>
      </dsp:nvSpPr>
      <dsp:spPr>
        <a:xfrm>
          <a:off x="4903360" y="3228"/>
          <a:ext cx="3307230" cy="1553056"/>
        </a:xfrm>
        <a:prstGeom prst="rect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2100" kern="1200" dirty="0">
            <a:solidFill>
              <a:schemeClr val="tx1">
                <a:lumMod val="50000"/>
              </a:schemeClr>
            </a:solidFill>
          </a:endParaRPr>
        </a:p>
      </dsp:txBody>
      <dsp:txXfrm>
        <a:off x="4903360" y="3228"/>
        <a:ext cx="3307230" cy="1553056"/>
      </dsp:txXfrm>
    </dsp:sp>
    <dsp:sp modelId="{BBBEE62D-A42E-456C-8D2E-BB3C59401898}">
      <dsp:nvSpPr>
        <dsp:cNvPr id="0" name=""/>
        <dsp:cNvSpPr/>
      </dsp:nvSpPr>
      <dsp:spPr>
        <a:xfrm>
          <a:off x="4501732" y="1946874"/>
          <a:ext cx="1859948" cy="929974"/>
        </a:xfrm>
        <a:prstGeom prst="rect">
          <a:avLst/>
        </a:prstGeom>
        <a:solidFill>
          <a:srgbClr val="E30D7B"/>
        </a:solidFill>
        <a:ln w="25400" cap="flat" cmpd="sng" algn="ctr">
          <a:solidFill>
            <a:schemeClr val="dk1"/>
          </a:solidFill>
          <a:prstDash val="solid"/>
        </a:ln>
        <a:effectLst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100" kern="1200" dirty="0" smtClean="0">
              <a:solidFill>
                <a:schemeClr val="tx1">
                  <a:lumMod val="50000"/>
                </a:schemeClr>
              </a:solidFill>
            </a:rPr>
            <a:t>Spiel-Entwicklung</a:t>
          </a:r>
          <a:endParaRPr lang="de-DE" sz="2100" kern="1200" dirty="0">
            <a:solidFill>
              <a:schemeClr val="tx1">
                <a:lumMod val="50000"/>
              </a:schemeClr>
            </a:solidFill>
          </a:endParaRPr>
        </a:p>
      </dsp:txBody>
      <dsp:txXfrm>
        <a:off x="4501732" y="1946874"/>
        <a:ext cx="1859948" cy="929974"/>
      </dsp:txXfrm>
    </dsp:sp>
    <dsp:sp modelId="{E83BEE59-38E0-451B-9A3C-240CDA94DA03}">
      <dsp:nvSpPr>
        <dsp:cNvPr id="0" name=""/>
        <dsp:cNvSpPr/>
      </dsp:nvSpPr>
      <dsp:spPr>
        <a:xfrm>
          <a:off x="656" y="3267437"/>
          <a:ext cx="1859948" cy="929974"/>
        </a:xfrm>
        <a:prstGeom prst="rect">
          <a:avLst/>
        </a:prstGeom>
        <a:solidFill>
          <a:srgbClr val="E30D7B"/>
        </a:solidFill>
        <a:ln w="25400" cap="flat" cmpd="sng" algn="ctr">
          <a:solidFill>
            <a:schemeClr val="dk1"/>
          </a:solidFill>
          <a:prstDash val="solid"/>
        </a:ln>
        <a:effectLst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100" kern="1200" dirty="0" smtClean="0">
              <a:solidFill>
                <a:schemeClr val="tx1">
                  <a:lumMod val="50000"/>
                </a:schemeClr>
              </a:solidFill>
            </a:rPr>
            <a:t>Projektleiter</a:t>
          </a:r>
          <a:endParaRPr lang="de-DE" sz="2100" kern="1200" dirty="0">
            <a:solidFill>
              <a:schemeClr val="tx1">
                <a:lumMod val="50000"/>
              </a:schemeClr>
            </a:solidFill>
          </a:endParaRPr>
        </a:p>
      </dsp:txBody>
      <dsp:txXfrm>
        <a:off x="656" y="3267437"/>
        <a:ext cx="1859948" cy="929974"/>
      </dsp:txXfrm>
    </dsp:sp>
    <dsp:sp modelId="{E284F209-F047-442B-B10E-2C807B950F05}">
      <dsp:nvSpPr>
        <dsp:cNvPr id="0" name=""/>
        <dsp:cNvSpPr/>
      </dsp:nvSpPr>
      <dsp:spPr>
        <a:xfrm>
          <a:off x="465643" y="4588001"/>
          <a:ext cx="1859948" cy="625007"/>
        </a:xfrm>
        <a:prstGeom prst="rect">
          <a:avLst/>
        </a:prstGeom>
        <a:solidFill>
          <a:schemeClr val="bg2">
            <a:lumMod val="85000"/>
          </a:schemeClr>
        </a:solidFill>
        <a:ln w="25400" cap="flat" cmpd="sng" algn="ctr">
          <a:solidFill>
            <a:schemeClr val="dk1"/>
          </a:solidFill>
          <a:prstDash val="solid"/>
        </a:ln>
        <a:effectLst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100" kern="1200" dirty="0" smtClean="0">
              <a:solidFill>
                <a:schemeClr val="tx1">
                  <a:lumMod val="50000"/>
                </a:schemeClr>
              </a:solidFill>
            </a:rPr>
            <a:t>TB</a:t>
          </a:r>
          <a:endParaRPr lang="de-DE" sz="2100" kern="1200" dirty="0">
            <a:solidFill>
              <a:schemeClr val="tx1">
                <a:lumMod val="50000"/>
              </a:schemeClr>
            </a:solidFill>
          </a:endParaRPr>
        </a:p>
      </dsp:txBody>
      <dsp:txXfrm>
        <a:off x="465643" y="4588001"/>
        <a:ext cx="1859948" cy="625007"/>
      </dsp:txXfrm>
    </dsp:sp>
    <dsp:sp modelId="{DD96F2ED-B680-4BD1-94E0-AC7583122C46}">
      <dsp:nvSpPr>
        <dsp:cNvPr id="0" name=""/>
        <dsp:cNvSpPr/>
      </dsp:nvSpPr>
      <dsp:spPr>
        <a:xfrm>
          <a:off x="2251194" y="3267437"/>
          <a:ext cx="1859948" cy="929974"/>
        </a:xfrm>
        <a:prstGeom prst="rect">
          <a:avLst/>
        </a:prstGeom>
        <a:solidFill>
          <a:srgbClr val="E30D7B"/>
        </a:solidFill>
        <a:ln w="25400" cap="flat" cmpd="sng" algn="ctr">
          <a:solidFill>
            <a:schemeClr val="dk1"/>
          </a:solidFill>
          <a:prstDash val="solid"/>
        </a:ln>
        <a:effectLst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100" kern="1200" dirty="0" smtClean="0">
              <a:solidFill>
                <a:schemeClr val="tx1">
                  <a:lumMod val="50000"/>
                </a:schemeClr>
              </a:solidFill>
            </a:rPr>
            <a:t>Entwickler</a:t>
          </a:r>
          <a:endParaRPr lang="de-DE" sz="2100" kern="1200" dirty="0">
            <a:solidFill>
              <a:schemeClr val="tx1">
                <a:lumMod val="50000"/>
              </a:schemeClr>
            </a:solidFill>
          </a:endParaRPr>
        </a:p>
      </dsp:txBody>
      <dsp:txXfrm>
        <a:off x="2251194" y="3267437"/>
        <a:ext cx="1859948" cy="929974"/>
      </dsp:txXfrm>
    </dsp:sp>
    <dsp:sp modelId="{A8A048B2-63B3-4CD9-8773-D0959158F9D7}">
      <dsp:nvSpPr>
        <dsp:cNvPr id="0" name=""/>
        <dsp:cNvSpPr/>
      </dsp:nvSpPr>
      <dsp:spPr>
        <a:xfrm>
          <a:off x="2716181" y="4588001"/>
          <a:ext cx="1859948" cy="625007"/>
        </a:xfrm>
        <a:prstGeom prst="rect">
          <a:avLst/>
        </a:prstGeom>
        <a:solidFill>
          <a:schemeClr val="bg2">
            <a:lumMod val="85000"/>
          </a:schemeClr>
        </a:solidFill>
        <a:ln w="25400" cap="flat" cmpd="sng" algn="ctr">
          <a:solidFill>
            <a:schemeClr val="dk1"/>
          </a:solidFill>
          <a:prstDash val="solid"/>
        </a:ln>
        <a:effectLst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100" kern="1200" dirty="0" smtClean="0">
              <a:solidFill>
                <a:schemeClr val="tx1">
                  <a:lumMod val="50000"/>
                </a:schemeClr>
              </a:solidFill>
            </a:rPr>
            <a:t>TB, JG</a:t>
          </a:r>
          <a:endParaRPr lang="de-DE" sz="2100" kern="1200" dirty="0">
            <a:solidFill>
              <a:schemeClr val="tx1">
                <a:lumMod val="50000"/>
              </a:schemeClr>
            </a:solidFill>
          </a:endParaRPr>
        </a:p>
      </dsp:txBody>
      <dsp:txXfrm>
        <a:off x="2716181" y="4588001"/>
        <a:ext cx="1859948" cy="625007"/>
      </dsp:txXfrm>
    </dsp:sp>
    <dsp:sp modelId="{1DC4EA10-C7EA-48F8-8B93-1DAA6127AF52}">
      <dsp:nvSpPr>
        <dsp:cNvPr id="0" name=""/>
        <dsp:cNvSpPr/>
      </dsp:nvSpPr>
      <dsp:spPr>
        <a:xfrm>
          <a:off x="4501732" y="3267437"/>
          <a:ext cx="1859948" cy="929974"/>
        </a:xfrm>
        <a:prstGeom prst="rect">
          <a:avLst/>
        </a:prstGeom>
        <a:solidFill>
          <a:srgbClr val="E30D7B"/>
        </a:solidFill>
        <a:ln w="25400" cap="flat" cmpd="sng" algn="ctr">
          <a:solidFill>
            <a:schemeClr val="dk1"/>
          </a:solidFill>
          <a:prstDash val="solid"/>
        </a:ln>
        <a:effectLst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100" kern="1200" dirty="0" smtClean="0">
              <a:solidFill>
                <a:schemeClr val="tx1">
                  <a:lumMod val="50000"/>
                </a:schemeClr>
              </a:solidFill>
            </a:rPr>
            <a:t>Grafik- / Sounddesign</a:t>
          </a:r>
          <a:endParaRPr lang="de-DE" sz="2100" kern="1200" dirty="0">
            <a:solidFill>
              <a:schemeClr val="tx1">
                <a:lumMod val="50000"/>
              </a:schemeClr>
            </a:solidFill>
          </a:endParaRPr>
        </a:p>
      </dsp:txBody>
      <dsp:txXfrm>
        <a:off x="4501732" y="3267437"/>
        <a:ext cx="1859948" cy="929974"/>
      </dsp:txXfrm>
    </dsp:sp>
    <dsp:sp modelId="{76739D7E-582D-4460-BCBA-3126E6BACF14}">
      <dsp:nvSpPr>
        <dsp:cNvPr id="0" name=""/>
        <dsp:cNvSpPr/>
      </dsp:nvSpPr>
      <dsp:spPr>
        <a:xfrm>
          <a:off x="4966719" y="4588001"/>
          <a:ext cx="1859948" cy="625007"/>
        </a:xfrm>
        <a:prstGeom prst="rect">
          <a:avLst/>
        </a:prstGeom>
        <a:solidFill>
          <a:schemeClr val="bg2">
            <a:lumMod val="85000"/>
          </a:schemeClr>
        </a:solidFill>
        <a:ln w="25400" cap="flat" cmpd="sng" algn="ctr">
          <a:solidFill>
            <a:schemeClr val="dk1"/>
          </a:solidFill>
          <a:prstDash val="solid"/>
        </a:ln>
        <a:effectLst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100" kern="1200" dirty="0" smtClean="0">
              <a:solidFill>
                <a:schemeClr val="tx1">
                  <a:lumMod val="50000"/>
                </a:schemeClr>
              </a:solidFill>
            </a:rPr>
            <a:t>MK, JG, KW</a:t>
          </a:r>
          <a:endParaRPr lang="de-DE" sz="2100" kern="1200" dirty="0">
            <a:solidFill>
              <a:schemeClr val="tx1">
                <a:lumMod val="50000"/>
              </a:schemeClr>
            </a:solidFill>
          </a:endParaRPr>
        </a:p>
      </dsp:txBody>
      <dsp:txXfrm>
        <a:off x="4966719" y="4588001"/>
        <a:ext cx="1859948" cy="625007"/>
      </dsp:txXfrm>
    </dsp:sp>
    <dsp:sp modelId="{50070A1E-CAE4-4FE8-8529-4BFC5C9295E2}">
      <dsp:nvSpPr>
        <dsp:cNvPr id="0" name=""/>
        <dsp:cNvSpPr/>
      </dsp:nvSpPr>
      <dsp:spPr>
        <a:xfrm>
          <a:off x="6752269" y="3267437"/>
          <a:ext cx="1859948" cy="929974"/>
        </a:xfrm>
        <a:prstGeom prst="rect">
          <a:avLst/>
        </a:prstGeom>
        <a:solidFill>
          <a:srgbClr val="E30D7B"/>
        </a:solidFill>
        <a:ln w="25400" cap="flat" cmpd="sng" algn="ctr">
          <a:solidFill>
            <a:schemeClr val="dk1"/>
          </a:solidFill>
          <a:prstDash val="solid"/>
        </a:ln>
        <a:effectLst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100" kern="1200" dirty="0" err="1" smtClean="0">
              <a:solidFill>
                <a:schemeClr val="tx1">
                  <a:lumMod val="50000"/>
                </a:schemeClr>
              </a:solidFill>
            </a:rPr>
            <a:t>Leveldesign</a:t>
          </a:r>
          <a:endParaRPr lang="de-DE" sz="2100" kern="1200" dirty="0">
            <a:solidFill>
              <a:schemeClr val="tx1">
                <a:lumMod val="50000"/>
              </a:schemeClr>
            </a:solidFill>
          </a:endParaRPr>
        </a:p>
      </dsp:txBody>
      <dsp:txXfrm>
        <a:off x="6752269" y="3267437"/>
        <a:ext cx="1859948" cy="929974"/>
      </dsp:txXfrm>
    </dsp:sp>
    <dsp:sp modelId="{CFBAAAEF-24BA-42CC-B811-C028647DC2F8}">
      <dsp:nvSpPr>
        <dsp:cNvPr id="0" name=""/>
        <dsp:cNvSpPr/>
      </dsp:nvSpPr>
      <dsp:spPr>
        <a:xfrm>
          <a:off x="7217256" y="4588001"/>
          <a:ext cx="1859948" cy="625007"/>
        </a:xfrm>
        <a:prstGeom prst="rect">
          <a:avLst/>
        </a:prstGeom>
        <a:solidFill>
          <a:schemeClr val="bg2">
            <a:lumMod val="85000"/>
          </a:schemeClr>
        </a:solidFill>
        <a:ln w="25400" cap="flat" cmpd="sng" algn="ctr">
          <a:solidFill>
            <a:schemeClr val="dk1"/>
          </a:solidFill>
          <a:prstDash val="solid"/>
        </a:ln>
        <a:effectLst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100" kern="1200" dirty="0" smtClean="0">
              <a:solidFill>
                <a:schemeClr val="tx1">
                  <a:lumMod val="50000"/>
                </a:schemeClr>
              </a:solidFill>
            </a:rPr>
            <a:t>TB, JG, DS, MK</a:t>
          </a:r>
          <a:endParaRPr lang="de-DE" sz="2100" kern="1200" dirty="0">
            <a:solidFill>
              <a:schemeClr val="tx1">
                <a:lumMod val="50000"/>
              </a:schemeClr>
            </a:solidFill>
          </a:endParaRPr>
        </a:p>
      </dsp:txBody>
      <dsp:txXfrm>
        <a:off x="7217256" y="4588001"/>
        <a:ext cx="1859948" cy="625007"/>
      </dsp:txXfrm>
    </dsp:sp>
    <dsp:sp modelId="{5C7B4E66-8DB1-49B0-9D39-5DF370FB088A}">
      <dsp:nvSpPr>
        <dsp:cNvPr id="0" name=""/>
        <dsp:cNvSpPr/>
      </dsp:nvSpPr>
      <dsp:spPr>
        <a:xfrm>
          <a:off x="9002807" y="3267437"/>
          <a:ext cx="1859948" cy="929974"/>
        </a:xfrm>
        <a:prstGeom prst="rect">
          <a:avLst/>
        </a:prstGeom>
        <a:solidFill>
          <a:srgbClr val="E30D7B"/>
        </a:solidFill>
        <a:ln w="25400" cap="flat" cmpd="sng" algn="ctr">
          <a:solidFill>
            <a:schemeClr val="dk1"/>
          </a:solidFill>
          <a:prstDash val="solid"/>
        </a:ln>
        <a:effectLst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100" kern="1200" dirty="0" smtClean="0">
              <a:solidFill>
                <a:schemeClr val="tx1">
                  <a:lumMod val="50000"/>
                </a:schemeClr>
              </a:solidFill>
            </a:rPr>
            <a:t>Dokumentation</a:t>
          </a:r>
          <a:endParaRPr lang="de-DE" sz="2100" kern="1200" dirty="0">
            <a:solidFill>
              <a:schemeClr val="tx1">
                <a:lumMod val="50000"/>
              </a:schemeClr>
            </a:solidFill>
          </a:endParaRPr>
        </a:p>
      </dsp:txBody>
      <dsp:txXfrm>
        <a:off x="9002807" y="3267437"/>
        <a:ext cx="1859948" cy="929974"/>
      </dsp:txXfrm>
    </dsp:sp>
    <dsp:sp modelId="{E0CC7251-A42F-43D9-9979-295794B15E2F}">
      <dsp:nvSpPr>
        <dsp:cNvPr id="0" name=""/>
        <dsp:cNvSpPr/>
      </dsp:nvSpPr>
      <dsp:spPr>
        <a:xfrm>
          <a:off x="9467794" y="4588001"/>
          <a:ext cx="1859948" cy="625007"/>
        </a:xfrm>
        <a:prstGeom prst="rect">
          <a:avLst/>
        </a:prstGeom>
        <a:solidFill>
          <a:schemeClr val="bg2">
            <a:lumMod val="85000"/>
          </a:schemeClr>
        </a:solidFill>
        <a:ln w="25400" cap="flat" cmpd="sng" algn="ctr">
          <a:solidFill>
            <a:schemeClr val="dk1"/>
          </a:solidFill>
          <a:prstDash val="solid"/>
        </a:ln>
        <a:effectLst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100" kern="1200" dirty="0" smtClean="0">
              <a:solidFill>
                <a:schemeClr val="tx1">
                  <a:lumMod val="50000"/>
                </a:schemeClr>
              </a:solidFill>
            </a:rPr>
            <a:t>KW, TB</a:t>
          </a:r>
          <a:endParaRPr lang="de-DE" sz="2100" kern="1200" dirty="0">
            <a:solidFill>
              <a:schemeClr val="tx1">
                <a:lumMod val="50000"/>
              </a:schemeClr>
            </a:solidFill>
          </a:endParaRPr>
        </a:p>
      </dsp:txBody>
      <dsp:txXfrm>
        <a:off x="9467794" y="4588001"/>
        <a:ext cx="1859948" cy="625007"/>
      </dsp:txXfrm>
    </dsp:sp>
    <dsp:sp modelId="{A891F834-B739-404A-ADAF-39E2B49CE751}">
      <dsp:nvSpPr>
        <dsp:cNvPr id="0" name=""/>
        <dsp:cNvSpPr/>
      </dsp:nvSpPr>
      <dsp:spPr>
        <a:xfrm>
          <a:off x="6752269" y="1946874"/>
          <a:ext cx="1859948" cy="929974"/>
        </a:xfrm>
        <a:prstGeom prst="rect">
          <a:avLst/>
        </a:prstGeom>
        <a:solidFill>
          <a:schemeClr val="tx1">
            <a:lumMod val="40000"/>
            <a:lumOff val="60000"/>
          </a:schemeClr>
        </a:solidFill>
        <a:ln w="25400" cap="flat" cmpd="sng" algn="ctr">
          <a:solidFill>
            <a:schemeClr val="dk1"/>
          </a:solidFill>
          <a:prstDash val="solid"/>
        </a:ln>
        <a:effectLst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100" kern="1200" dirty="0" smtClean="0">
              <a:solidFill>
                <a:schemeClr val="tx1">
                  <a:lumMod val="50000"/>
                </a:schemeClr>
              </a:solidFill>
            </a:rPr>
            <a:t>Website und Webserver</a:t>
          </a:r>
          <a:endParaRPr lang="de-DE" sz="2100" kern="1200" dirty="0">
            <a:solidFill>
              <a:schemeClr val="tx1">
                <a:lumMod val="50000"/>
              </a:schemeClr>
            </a:solidFill>
          </a:endParaRPr>
        </a:p>
      </dsp:txBody>
      <dsp:txXfrm>
        <a:off x="6752269" y="1946874"/>
        <a:ext cx="1859948" cy="92997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8AEF183-8976-4D6D-B8DB-BE7873C3C457}">
      <dsp:nvSpPr>
        <dsp:cNvPr id="0" name=""/>
        <dsp:cNvSpPr/>
      </dsp:nvSpPr>
      <dsp:spPr>
        <a:xfrm>
          <a:off x="547175" y="2474"/>
          <a:ext cx="1781621" cy="920567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Anforderungen</a:t>
          </a:r>
          <a:endParaRPr lang="de-DE" sz="1800" kern="1200" dirty="0"/>
        </a:p>
      </dsp:txBody>
      <dsp:txXfrm>
        <a:off x="574137" y="29436"/>
        <a:ext cx="1727697" cy="866643"/>
      </dsp:txXfrm>
    </dsp:sp>
    <dsp:sp modelId="{BAD7675E-7C7D-4ACB-B963-A17C40E8295A}">
      <dsp:nvSpPr>
        <dsp:cNvPr id="0" name=""/>
        <dsp:cNvSpPr/>
      </dsp:nvSpPr>
      <dsp:spPr>
        <a:xfrm rot="5400000">
          <a:off x="1265380" y="946056"/>
          <a:ext cx="345212" cy="414255"/>
        </a:xfrm>
        <a:prstGeom prst="righ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400" kern="1200"/>
        </a:p>
      </dsp:txBody>
      <dsp:txXfrm rot="-5400000">
        <a:off x="1313710" y="980577"/>
        <a:ext cx="248553" cy="241648"/>
      </dsp:txXfrm>
    </dsp:sp>
    <dsp:sp modelId="{84DBEE8B-E730-490C-978B-13114ED184C7}">
      <dsp:nvSpPr>
        <dsp:cNvPr id="0" name=""/>
        <dsp:cNvSpPr/>
      </dsp:nvSpPr>
      <dsp:spPr>
        <a:xfrm>
          <a:off x="547175" y="1383325"/>
          <a:ext cx="1781621" cy="920567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Entwurf</a:t>
          </a:r>
          <a:endParaRPr lang="de-DE" sz="1800" kern="1200" dirty="0"/>
        </a:p>
      </dsp:txBody>
      <dsp:txXfrm>
        <a:off x="574137" y="1410287"/>
        <a:ext cx="1727697" cy="866643"/>
      </dsp:txXfrm>
    </dsp:sp>
    <dsp:sp modelId="{450BA7A0-6055-4B50-8F72-1A4BDF96CCAE}">
      <dsp:nvSpPr>
        <dsp:cNvPr id="0" name=""/>
        <dsp:cNvSpPr/>
      </dsp:nvSpPr>
      <dsp:spPr>
        <a:xfrm rot="5400000">
          <a:off x="1265380" y="2326906"/>
          <a:ext cx="345212" cy="414255"/>
        </a:xfrm>
        <a:prstGeom prst="righ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400" kern="1200"/>
        </a:p>
      </dsp:txBody>
      <dsp:txXfrm rot="-5400000">
        <a:off x="1313710" y="2361427"/>
        <a:ext cx="248553" cy="241648"/>
      </dsp:txXfrm>
    </dsp:sp>
    <dsp:sp modelId="{933D262C-DE50-475D-8160-C8F6B7E5540A}">
      <dsp:nvSpPr>
        <dsp:cNvPr id="0" name=""/>
        <dsp:cNvSpPr/>
      </dsp:nvSpPr>
      <dsp:spPr>
        <a:xfrm>
          <a:off x="547175" y="2764176"/>
          <a:ext cx="1781621" cy="920567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Implementation</a:t>
          </a:r>
          <a:endParaRPr lang="de-DE" sz="1800" kern="1200" dirty="0"/>
        </a:p>
      </dsp:txBody>
      <dsp:txXfrm>
        <a:off x="574137" y="2791138"/>
        <a:ext cx="1727697" cy="866643"/>
      </dsp:txXfrm>
    </dsp:sp>
    <dsp:sp modelId="{26F2D686-F7C1-4FFE-AA65-E72495FC7028}">
      <dsp:nvSpPr>
        <dsp:cNvPr id="0" name=""/>
        <dsp:cNvSpPr/>
      </dsp:nvSpPr>
      <dsp:spPr>
        <a:xfrm rot="5400000">
          <a:off x="1265380" y="3707757"/>
          <a:ext cx="345212" cy="414255"/>
        </a:xfrm>
        <a:prstGeom prst="righ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400" kern="1200"/>
        </a:p>
      </dsp:txBody>
      <dsp:txXfrm rot="-5400000">
        <a:off x="1313710" y="3742278"/>
        <a:ext cx="248553" cy="241648"/>
      </dsp:txXfrm>
    </dsp:sp>
    <dsp:sp modelId="{1DF114FB-8AA3-4185-954C-E0B68EDC1F96}">
      <dsp:nvSpPr>
        <dsp:cNvPr id="0" name=""/>
        <dsp:cNvSpPr/>
      </dsp:nvSpPr>
      <dsp:spPr>
        <a:xfrm>
          <a:off x="547175" y="4145027"/>
          <a:ext cx="1781621" cy="920567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Test</a:t>
          </a:r>
          <a:endParaRPr lang="de-DE" sz="1800" kern="1200" dirty="0"/>
        </a:p>
      </dsp:txBody>
      <dsp:txXfrm>
        <a:off x="574137" y="4171989"/>
        <a:ext cx="1727697" cy="86664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847DF5-088B-4460-B981-624CAD564034}" type="datetimeFigureOut">
              <a:rPr lang="de-DE" smtClean="0"/>
              <a:t>04.01.20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10B533-0F3E-4E77-9DBC-286E2FBE0FE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03998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10B533-0F3E-4E77-9DBC-286E2FBE0FE7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90409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hidden="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/>
          <a:srcRect/>
          <a:stretch>
            <a:fillRect/>
          </a:stretch>
        </p:blipFill>
        <p:spPr bwMode="auto">
          <a:xfrm>
            <a:off x="2118" y="1589"/>
            <a:ext cx="2116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5" descr="T_Logo_3c_Slogan_n_INT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/>
          <a:srcRect r="61938"/>
          <a:stretch>
            <a:fillRect/>
          </a:stretch>
        </p:blipFill>
        <p:spPr bwMode="auto">
          <a:xfrm>
            <a:off x="431800" y="6138864"/>
            <a:ext cx="1346200" cy="395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6" descr="T_Logo_3c_Slogan_n_INT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6"/>
          <a:srcRect l="45840"/>
          <a:stretch>
            <a:fillRect/>
          </a:stretch>
        </p:blipFill>
        <p:spPr bwMode="auto">
          <a:xfrm>
            <a:off x="9855200" y="6138864"/>
            <a:ext cx="1915584" cy="395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1" name="Titelplatzhalter 1"/>
          <p:cNvSpPr>
            <a:spLocks noGrp="1"/>
          </p:cNvSpPr>
          <p:nvPr>
            <p:ph type="ctrTitle"/>
          </p:nvPr>
        </p:nvSpPr>
        <p:spPr>
          <a:xfrm>
            <a:off x="406400" y="1773238"/>
            <a:ext cx="11328400" cy="1655762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7172" name="Textplatzhalter 2"/>
          <p:cNvSpPr>
            <a:spLocks noGrp="1"/>
          </p:cNvSpPr>
          <p:nvPr>
            <p:ph type="subTitle" idx="1"/>
          </p:nvPr>
        </p:nvSpPr>
        <p:spPr>
          <a:xfrm>
            <a:off x="406400" y="3676651"/>
            <a:ext cx="11328400" cy="332399"/>
          </a:xfrm>
        </p:spPr>
        <p:txBody>
          <a:bodyPr>
            <a:spAutoFit/>
          </a:bodyPr>
          <a:lstStyle>
            <a:lvl1pPr>
              <a:defRPr sz="240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77517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3"/>
          <p:cNvSpPr txBox="1">
            <a:spLocks/>
          </p:cNvSpPr>
          <p:nvPr/>
        </p:nvSpPr>
        <p:spPr bwMode="gray">
          <a:xfrm>
            <a:off x="9072034" y="6430963"/>
            <a:ext cx="2400300" cy="139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 defTabSz="457200"/>
            <a:r>
              <a:rPr lang="de-DE" sz="900">
                <a:solidFill>
                  <a:srgbClr val="000000"/>
                </a:solidFill>
                <a:latin typeface="Tele-GroteskNor" pitchFamily="2" charset="0"/>
              </a:rPr>
              <a:t>06.texttext.text0texttext</a:t>
            </a:r>
          </a:p>
        </p:txBody>
      </p:sp>
      <p:sp>
        <p:nvSpPr>
          <p:cNvPr id="6" name="Foliennummernplatzhalter 5"/>
          <p:cNvSpPr txBox="1">
            <a:spLocks/>
          </p:cNvSpPr>
          <p:nvPr/>
        </p:nvSpPr>
        <p:spPr bwMode="gray">
          <a:xfrm>
            <a:off x="11387668" y="6431564"/>
            <a:ext cx="385233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>
            <a:defPPr>
              <a:defRPr lang="de-DE"/>
            </a:defPPr>
            <a:lvl1pPr algn="r" defTabSz="457200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900" kern="1200">
                <a:solidFill>
                  <a:schemeClr val="tx1"/>
                </a:solidFill>
                <a:latin typeface="Tele-GroteskNor" pitchFamily="2" charset="0"/>
                <a:ea typeface="+mn-ea"/>
                <a:cs typeface="+mn-cs"/>
              </a:defRPr>
            </a:lvl1pPr>
            <a:lvl2pPr marL="4572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2pPr>
            <a:lvl3pPr marL="9144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3pPr>
            <a:lvl4pPr marL="13716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4pPr>
            <a:lvl5pPr marL="18288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A5CA0483-D061-4F42-B759-7D962EDF8DD3}" type="slidenum">
              <a:rPr lang="de-DE" sz="900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 sz="9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de-DE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B53FE30-30B8-4907-A3D3-76AAA8988E8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454578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7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536767" y="6350"/>
            <a:ext cx="1460500" cy="674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B53FE30-30B8-4907-A3D3-76AAA8988E8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24792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 txBox="1">
            <a:spLocks/>
          </p:cNvSpPr>
          <p:nvPr/>
        </p:nvSpPr>
        <p:spPr bwMode="gray">
          <a:xfrm>
            <a:off x="9072034" y="6430963"/>
            <a:ext cx="2400300" cy="139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 defTabSz="457200"/>
            <a:r>
              <a:rPr lang="de-DE" sz="900">
                <a:solidFill>
                  <a:srgbClr val="000000"/>
                </a:solidFill>
                <a:latin typeface="Tele-GroteskNor" pitchFamily="2" charset="0"/>
              </a:rPr>
              <a:t>06.texttext.text0texttext</a:t>
            </a:r>
          </a:p>
        </p:txBody>
      </p:sp>
      <p:sp>
        <p:nvSpPr>
          <p:cNvPr id="5" name="Foliennummernplatzhalter 5"/>
          <p:cNvSpPr txBox="1">
            <a:spLocks/>
          </p:cNvSpPr>
          <p:nvPr/>
        </p:nvSpPr>
        <p:spPr bwMode="gray">
          <a:xfrm>
            <a:off x="11387668" y="6431564"/>
            <a:ext cx="385233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>
            <a:defPPr>
              <a:defRPr lang="de-DE"/>
            </a:defPPr>
            <a:lvl1pPr algn="r" defTabSz="457200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900" kern="1200">
                <a:solidFill>
                  <a:schemeClr val="tx1"/>
                </a:solidFill>
                <a:latin typeface="Tele-GroteskNor" pitchFamily="2" charset="0"/>
                <a:ea typeface="+mn-ea"/>
                <a:cs typeface="+mn-cs"/>
              </a:defRPr>
            </a:lvl1pPr>
            <a:lvl2pPr marL="4572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2pPr>
            <a:lvl3pPr marL="9144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3pPr>
            <a:lvl4pPr marL="13716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4pPr>
            <a:lvl5pPr marL="18288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3C794304-7EA0-4A8A-BA4F-70177EC343E8}" type="slidenum">
              <a:rPr lang="de-DE" sz="900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 sz="900" dirty="0">
              <a:solidFill>
                <a:srgbClr val="000000"/>
              </a:solidFill>
            </a:endParaRPr>
          </a:p>
        </p:txBody>
      </p:sp>
      <p:pic>
        <p:nvPicPr>
          <p:cNvPr id="6" name="Grafik 7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536767" y="6350"/>
            <a:ext cx="1460500" cy="674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02701" y="333376"/>
            <a:ext cx="2832100" cy="5724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06401" y="333376"/>
            <a:ext cx="8293100" cy="57245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B53FE30-30B8-4907-A3D3-76AAA8988E8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492496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 txBox="1">
            <a:spLocks/>
          </p:cNvSpPr>
          <p:nvPr/>
        </p:nvSpPr>
        <p:spPr bwMode="gray">
          <a:xfrm>
            <a:off x="9072034" y="6430963"/>
            <a:ext cx="2400300" cy="139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 defTabSz="457200"/>
            <a:r>
              <a:rPr lang="de-DE" sz="900">
                <a:solidFill>
                  <a:srgbClr val="000000"/>
                </a:solidFill>
                <a:latin typeface="Tele-GroteskNor" pitchFamily="2" charset="0"/>
              </a:rPr>
              <a:t>06.texttext.text0texttext</a:t>
            </a:r>
          </a:p>
        </p:txBody>
      </p:sp>
      <p:sp>
        <p:nvSpPr>
          <p:cNvPr id="5" name="Foliennummernplatzhalter 5"/>
          <p:cNvSpPr txBox="1">
            <a:spLocks/>
          </p:cNvSpPr>
          <p:nvPr/>
        </p:nvSpPr>
        <p:spPr bwMode="gray">
          <a:xfrm>
            <a:off x="11387668" y="6431564"/>
            <a:ext cx="385233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>
            <a:defPPr>
              <a:defRPr lang="de-DE"/>
            </a:defPPr>
            <a:lvl1pPr algn="r" defTabSz="457200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900" kern="1200">
                <a:solidFill>
                  <a:schemeClr val="tx1"/>
                </a:solidFill>
                <a:latin typeface="Tele-GroteskNor" pitchFamily="2" charset="0"/>
                <a:ea typeface="+mn-ea"/>
                <a:cs typeface="+mn-cs"/>
              </a:defRPr>
            </a:lvl1pPr>
            <a:lvl2pPr marL="4572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2pPr>
            <a:lvl3pPr marL="9144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3pPr>
            <a:lvl4pPr marL="13716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4pPr>
            <a:lvl5pPr marL="18288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B700A39D-FEA6-414B-A771-66C23CC18CC7}" type="slidenum">
              <a:rPr lang="de-DE" sz="900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 sz="900" dirty="0">
              <a:solidFill>
                <a:srgbClr val="000000"/>
              </a:solidFill>
            </a:endParaRPr>
          </a:p>
        </p:txBody>
      </p:sp>
      <p:pic>
        <p:nvPicPr>
          <p:cNvPr id="6" name="Grafik 7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536767" y="6350"/>
            <a:ext cx="1460500" cy="674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B53FE30-30B8-4907-A3D3-76AAA8988E8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244641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 txBox="1">
            <a:spLocks/>
          </p:cNvSpPr>
          <p:nvPr/>
        </p:nvSpPr>
        <p:spPr bwMode="gray">
          <a:xfrm>
            <a:off x="9072034" y="6430963"/>
            <a:ext cx="2400300" cy="139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 defTabSz="457200"/>
            <a:r>
              <a:rPr lang="de-DE" sz="900">
                <a:solidFill>
                  <a:srgbClr val="000000"/>
                </a:solidFill>
                <a:latin typeface="Tele-GroteskNor" pitchFamily="2" charset="0"/>
              </a:rPr>
              <a:t>06.texttext.text0texttext</a:t>
            </a:r>
          </a:p>
        </p:txBody>
      </p:sp>
      <p:sp>
        <p:nvSpPr>
          <p:cNvPr id="5" name="Foliennummernplatzhalter 5"/>
          <p:cNvSpPr txBox="1">
            <a:spLocks/>
          </p:cNvSpPr>
          <p:nvPr/>
        </p:nvSpPr>
        <p:spPr bwMode="gray">
          <a:xfrm>
            <a:off x="11387668" y="6431564"/>
            <a:ext cx="385233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>
            <a:defPPr>
              <a:defRPr lang="de-DE"/>
            </a:defPPr>
            <a:lvl1pPr algn="r" defTabSz="457200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900" kern="1200">
                <a:solidFill>
                  <a:schemeClr val="tx1"/>
                </a:solidFill>
                <a:latin typeface="Tele-GroteskNor" pitchFamily="2" charset="0"/>
                <a:ea typeface="+mn-ea"/>
                <a:cs typeface="+mn-cs"/>
              </a:defRPr>
            </a:lvl1pPr>
            <a:lvl2pPr marL="4572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2pPr>
            <a:lvl3pPr marL="9144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3pPr>
            <a:lvl4pPr marL="13716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4pPr>
            <a:lvl5pPr marL="18288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959C02E7-E30A-440D-B5D1-52A06DDD2512}" type="slidenum">
              <a:rPr lang="de-DE" sz="900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 sz="900" dirty="0">
              <a:solidFill>
                <a:srgbClr val="000000"/>
              </a:solidFill>
            </a:endParaRPr>
          </a:p>
        </p:txBody>
      </p:sp>
      <p:pic>
        <p:nvPicPr>
          <p:cNvPr id="6" name="Grafik 7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536767" y="6350"/>
            <a:ext cx="1460500" cy="674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B53FE30-30B8-4907-A3D3-76AAA8988E8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24389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7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536767" y="6350"/>
            <a:ext cx="1460500" cy="674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6400" y="1773238"/>
            <a:ext cx="5562600" cy="42846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773238"/>
            <a:ext cx="5562600" cy="42846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B53FE30-30B8-4907-A3D3-76AAA8988E8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475636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7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976034" y="6173789"/>
            <a:ext cx="1460500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Datumsplatzhalter 3"/>
          <p:cNvSpPr txBox="1">
            <a:spLocks/>
          </p:cNvSpPr>
          <p:nvPr/>
        </p:nvSpPr>
        <p:spPr bwMode="gray">
          <a:xfrm>
            <a:off x="9072034" y="6430963"/>
            <a:ext cx="2400300" cy="139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 defTabSz="457200"/>
            <a:r>
              <a:rPr lang="de-DE" sz="900">
                <a:solidFill>
                  <a:srgbClr val="000000"/>
                </a:solidFill>
                <a:latin typeface="Tele-GroteskNor" pitchFamily="2" charset="0"/>
              </a:rPr>
              <a:t>06.texttext.text0texttext</a:t>
            </a:r>
          </a:p>
        </p:txBody>
      </p:sp>
      <p:sp>
        <p:nvSpPr>
          <p:cNvPr id="9" name="Fußzeilenplatzhalter 4"/>
          <p:cNvSpPr txBox="1">
            <a:spLocks/>
          </p:cNvSpPr>
          <p:nvPr/>
        </p:nvSpPr>
        <p:spPr bwMode="gray">
          <a:xfrm>
            <a:off x="3409951" y="6430963"/>
            <a:ext cx="5469467" cy="139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>
            <a:defPPr>
              <a:defRPr lang="de-DE"/>
            </a:defPPr>
            <a:lvl1pPr algn="r" defTabSz="457200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900" kern="1200">
                <a:solidFill>
                  <a:schemeClr val="tx1"/>
                </a:solidFill>
                <a:latin typeface="Tele-GroteskNor" pitchFamily="2" charset="0"/>
                <a:ea typeface="+mn-ea"/>
                <a:cs typeface="+mn-cs"/>
              </a:defRPr>
            </a:lvl1pPr>
            <a:lvl2pPr marL="4572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2pPr>
            <a:lvl3pPr marL="9144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3pPr>
            <a:lvl4pPr marL="13716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4pPr>
            <a:lvl5pPr marL="18288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sz="900" dirty="0" smtClean="0">
                <a:solidFill>
                  <a:srgbClr val="000000"/>
                </a:solidFill>
              </a:rPr>
              <a:t>–Intern –                         Autor / Thema der Präsentation </a:t>
            </a:r>
            <a:endParaRPr lang="de-DE" sz="900" dirty="0">
              <a:solidFill>
                <a:srgbClr val="000000"/>
              </a:solidFill>
            </a:endParaRPr>
          </a:p>
        </p:txBody>
      </p:sp>
      <p:sp>
        <p:nvSpPr>
          <p:cNvPr id="10" name="Foliennummernplatzhalter 5"/>
          <p:cNvSpPr txBox="1">
            <a:spLocks/>
          </p:cNvSpPr>
          <p:nvPr/>
        </p:nvSpPr>
        <p:spPr bwMode="gray">
          <a:xfrm>
            <a:off x="11387668" y="6431564"/>
            <a:ext cx="385233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>
            <a:defPPr>
              <a:defRPr lang="de-DE"/>
            </a:defPPr>
            <a:lvl1pPr algn="r" defTabSz="457200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900" kern="1200">
                <a:solidFill>
                  <a:schemeClr val="tx1"/>
                </a:solidFill>
                <a:latin typeface="Tele-GroteskNor" pitchFamily="2" charset="0"/>
                <a:ea typeface="+mn-ea"/>
                <a:cs typeface="+mn-cs"/>
              </a:defRPr>
            </a:lvl1pPr>
            <a:lvl2pPr marL="4572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2pPr>
            <a:lvl3pPr marL="9144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3pPr>
            <a:lvl4pPr marL="13716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4pPr>
            <a:lvl5pPr marL="18288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C4BBF656-AA76-47CD-82CD-D15A06E6A619}" type="slidenum">
              <a:rPr lang="de-DE" sz="900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 sz="9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1" name="Rectangle 7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B53FE30-30B8-4907-A3D3-76AAA8988E8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860004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5"/>
          <p:cNvSpPr txBox="1">
            <a:spLocks/>
          </p:cNvSpPr>
          <p:nvPr/>
        </p:nvSpPr>
        <p:spPr bwMode="gray">
          <a:xfrm>
            <a:off x="11387668" y="6431564"/>
            <a:ext cx="385233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>
            <a:defPPr>
              <a:defRPr lang="de-DE"/>
            </a:defPPr>
            <a:lvl1pPr algn="r" defTabSz="457200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900" kern="1200">
                <a:solidFill>
                  <a:schemeClr val="tx1"/>
                </a:solidFill>
                <a:latin typeface="Tele-GroteskNor" pitchFamily="2" charset="0"/>
                <a:ea typeface="+mn-ea"/>
                <a:cs typeface="+mn-cs"/>
              </a:defRPr>
            </a:lvl1pPr>
            <a:lvl2pPr marL="4572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2pPr>
            <a:lvl3pPr marL="9144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3pPr>
            <a:lvl4pPr marL="13716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4pPr>
            <a:lvl5pPr marL="18288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B7903CFF-22C9-4B44-A79F-65FFE7385CB8}" type="slidenum">
              <a:rPr lang="de-DE" sz="900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 sz="900" dirty="0">
              <a:solidFill>
                <a:srgbClr val="000000"/>
              </a:solidFill>
            </a:endParaRPr>
          </a:p>
        </p:txBody>
      </p:sp>
      <p:pic>
        <p:nvPicPr>
          <p:cNvPr id="4" name="Grafik 7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536767" y="6350"/>
            <a:ext cx="1460500" cy="674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B53FE30-30B8-4907-A3D3-76AAA8988E8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17192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7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536767" y="7939"/>
            <a:ext cx="1460500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Datumsplatzhalter 3"/>
          <p:cNvSpPr txBox="1">
            <a:spLocks/>
          </p:cNvSpPr>
          <p:nvPr/>
        </p:nvSpPr>
        <p:spPr bwMode="gray">
          <a:xfrm>
            <a:off x="9072034" y="6430963"/>
            <a:ext cx="2400300" cy="139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 defTabSz="457200"/>
            <a:r>
              <a:rPr lang="de-DE" sz="900">
                <a:solidFill>
                  <a:srgbClr val="000000"/>
                </a:solidFill>
                <a:latin typeface="Tele-GroteskNor" pitchFamily="2" charset="0"/>
              </a:rPr>
              <a:t>06.texttext.text0texttext</a:t>
            </a:r>
          </a:p>
        </p:txBody>
      </p:sp>
      <p:sp>
        <p:nvSpPr>
          <p:cNvPr id="4" name="Foliennummernplatzhalter 5"/>
          <p:cNvSpPr txBox="1">
            <a:spLocks/>
          </p:cNvSpPr>
          <p:nvPr/>
        </p:nvSpPr>
        <p:spPr bwMode="gray">
          <a:xfrm>
            <a:off x="11387668" y="6431564"/>
            <a:ext cx="385233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>
            <a:defPPr>
              <a:defRPr lang="de-DE"/>
            </a:defPPr>
            <a:lvl1pPr algn="r" defTabSz="457200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900" kern="1200">
                <a:solidFill>
                  <a:schemeClr val="tx1"/>
                </a:solidFill>
                <a:latin typeface="Tele-GroteskNor" pitchFamily="2" charset="0"/>
                <a:ea typeface="+mn-ea"/>
                <a:cs typeface="+mn-cs"/>
              </a:defRPr>
            </a:lvl1pPr>
            <a:lvl2pPr marL="4572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2pPr>
            <a:lvl3pPr marL="9144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3pPr>
            <a:lvl4pPr marL="13716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4pPr>
            <a:lvl5pPr marL="18288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88D6E1CC-2CBD-4D35-9063-6E60417A9D7C}" type="slidenum">
              <a:rPr lang="de-DE" sz="900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 sz="9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34244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7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536767" y="6350"/>
            <a:ext cx="1460500" cy="674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Foliennummernplatzhalter 5"/>
          <p:cNvSpPr txBox="1">
            <a:spLocks/>
          </p:cNvSpPr>
          <p:nvPr/>
        </p:nvSpPr>
        <p:spPr bwMode="gray">
          <a:xfrm>
            <a:off x="11387668" y="6431564"/>
            <a:ext cx="385233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>
            <a:defPPr>
              <a:defRPr lang="de-DE"/>
            </a:defPPr>
            <a:lvl1pPr algn="r" defTabSz="457200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900" kern="1200">
                <a:solidFill>
                  <a:schemeClr val="tx1"/>
                </a:solidFill>
                <a:latin typeface="Tele-GroteskNor" pitchFamily="2" charset="0"/>
                <a:ea typeface="+mn-ea"/>
                <a:cs typeface="+mn-cs"/>
              </a:defRPr>
            </a:lvl1pPr>
            <a:lvl2pPr marL="4572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2pPr>
            <a:lvl3pPr marL="9144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3pPr>
            <a:lvl4pPr marL="13716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4pPr>
            <a:lvl5pPr marL="1828800" algn="l" defTabSz="457200" rtl="0" fontAlgn="base">
              <a:lnSpc>
                <a:spcPts val="18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C28F7129-E87C-4C13-9663-A65633BDD3BC}" type="slidenum">
              <a:rPr lang="de-DE" sz="900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 sz="900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891254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7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536767" y="6350"/>
            <a:ext cx="1460500" cy="674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B53FE30-30B8-4907-A3D3-76AAA8988E8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48380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hidden="1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18"/>
          <a:srcRect/>
          <a:stretch>
            <a:fillRect/>
          </a:stretch>
        </p:blipFill>
        <p:spPr bwMode="auto">
          <a:xfrm>
            <a:off x="2118" y="1589"/>
            <a:ext cx="2116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Titelplatzhalter 1"/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 bwMode="gray">
          <a:xfrm>
            <a:off x="406400" y="333376"/>
            <a:ext cx="11328400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MASTERTITELFORMAT BEARBEITEN</a:t>
            </a:r>
          </a:p>
        </p:txBody>
      </p:sp>
      <p:sp>
        <p:nvSpPr>
          <p:cNvPr id="1028" name="Textplatzhalter 2"/>
          <p:cNvSpPr>
            <a:spLocks noGrp="1"/>
          </p:cNvSpPr>
          <p:nvPr>
            <p:ph type="body" idx="1"/>
            <p:custDataLst>
              <p:tags r:id="rId16"/>
            </p:custDataLst>
          </p:nvPr>
        </p:nvSpPr>
        <p:spPr bwMode="gray">
          <a:xfrm>
            <a:off x="406400" y="1773238"/>
            <a:ext cx="11328400" cy="42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Mastertext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</a:p>
        </p:txBody>
      </p:sp>
      <p:pic>
        <p:nvPicPr>
          <p:cNvPr id="1029" name="Picture 5" descr="T_Logo_3c_Slogan_p_INT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19"/>
          <a:srcRect/>
          <a:stretch>
            <a:fillRect/>
          </a:stretch>
        </p:blipFill>
        <p:spPr bwMode="auto">
          <a:xfrm>
            <a:off x="431801" y="6348414"/>
            <a:ext cx="2571751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51" name="Rectangle 7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1068051" y="6602413"/>
            <a:ext cx="719667" cy="144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900">
                <a:latin typeface="Tele-GroteskNor" pitchFamily="2" charset="0"/>
              </a:defRPr>
            </a:lvl1pPr>
          </a:lstStyle>
          <a:p>
            <a:fld id="{1B53FE30-30B8-4907-A3D3-76AAA8988E8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763483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iming>
    <p:tnLst>
      <p:par>
        <p:cTn id="1" dur="indefinite" restart="never" nodeType="tmRoot"/>
      </p:par>
    </p:tnLst>
  </p:timing>
  <p:txStyles>
    <p:titleStyle>
      <a:lvl1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+mj-lt"/>
          <a:ea typeface="+mj-ea"/>
          <a:cs typeface="+mj-cs"/>
        </a:defRPr>
      </a:lvl1pPr>
      <a:lvl2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2pPr>
      <a:lvl3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3pPr>
      <a:lvl4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4pPr>
      <a:lvl5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5pPr>
      <a:lvl6pPr marL="4572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6pPr>
      <a:lvl7pPr marL="9144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7pPr>
      <a:lvl8pPr marL="13716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8pPr>
      <a:lvl9pPr marL="18288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1588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>
          <a:solidFill>
            <a:schemeClr val="tx1"/>
          </a:solidFill>
          <a:latin typeface="Tele-GroteskNor" pitchFamily="2" charset="0"/>
        </a:defRPr>
      </a:lvl2pPr>
      <a:lvl3pPr marL="179388" indent="-176213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>
          <a:solidFill>
            <a:schemeClr val="tx1"/>
          </a:solidFill>
          <a:latin typeface="Tele-GroteskNor" pitchFamily="2" charset="0"/>
        </a:defRPr>
      </a:lvl3pPr>
      <a:lvl4pPr marL="352425" indent="-17145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>
          <a:solidFill>
            <a:schemeClr val="tx1"/>
          </a:solidFill>
          <a:latin typeface="Tele-GroteskNor" pitchFamily="2" charset="0"/>
        </a:defRPr>
      </a:lvl4pPr>
      <a:lvl5pPr marL="538163" indent="-18415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>
          <a:solidFill>
            <a:schemeClr val="tx1"/>
          </a:solidFill>
          <a:latin typeface="Tele-GroteskNor" pitchFamily="2" charset="0"/>
        </a:defRPr>
      </a:lvl5pPr>
      <a:lvl6pPr marL="995363" indent="-18415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>
          <a:solidFill>
            <a:schemeClr val="tx1"/>
          </a:solidFill>
          <a:latin typeface="Tele-GroteskNor" pitchFamily="2" charset="0"/>
        </a:defRPr>
      </a:lvl6pPr>
      <a:lvl7pPr marL="1452563" indent="-18415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>
          <a:solidFill>
            <a:schemeClr val="tx1"/>
          </a:solidFill>
          <a:latin typeface="Tele-GroteskNor" pitchFamily="2" charset="0"/>
        </a:defRPr>
      </a:lvl7pPr>
      <a:lvl8pPr marL="1909763" indent="-18415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>
          <a:solidFill>
            <a:schemeClr val="tx1"/>
          </a:solidFill>
          <a:latin typeface="Tele-GroteskNor" pitchFamily="2" charset="0"/>
        </a:defRPr>
      </a:lvl8pPr>
      <a:lvl9pPr marL="2366963" indent="-18415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>
          <a:solidFill>
            <a:schemeClr val="tx1"/>
          </a:solidFill>
          <a:latin typeface="Tele-GroteskNor" pitchFamily="2" charset="0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hyperlink" Target="http://localhost:8050/Account/?email=test@test.de&amp;name=test&amp;password=Test!234&amp;confirmPassword=Test!234&amp;md5Hash=e565867acd81a0e0beeb542951827126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hyperlink" Target="http://localhost:8050/Highscores/?name=Test&amp;Score=110&amp;md5Hash=a744c5a9c5f724da978c7fce887c7671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hyperlink" Target="http://www.cs.umd.edu/class/spring2003/cmsc838p/Process/waterfall.pdf" TargetMode="Externa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Retro </a:t>
            </a:r>
            <a:r>
              <a:rPr lang="de-DE" dirty="0" smtClean="0"/>
              <a:t>Indie </a:t>
            </a:r>
            <a:r>
              <a:rPr lang="de-DE" dirty="0" smtClean="0"/>
              <a:t>Gam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smtClean="0"/>
              <a:t>Von </a:t>
            </a:r>
            <a:r>
              <a:rPr lang="de-DE" dirty="0" smtClean="0"/>
              <a:t>Tino Blau, Katharina Wiegel, Maria Kömmpel, Dan Schieck, Juraj Gras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468034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erausforderung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000" dirty="0" smtClean="0"/>
              <a:t>Rechtliche Rahmenbedingungen</a:t>
            </a:r>
          </a:p>
          <a:p>
            <a:pPr marL="638175" lvl="3" indent="-285750">
              <a:buFont typeface="Arial" panose="020B0604020202020204" pitchFamily="34" charset="0"/>
              <a:buChar char="•"/>
            </a:pPr>
            <a:r>
              <a:rPr lang="de-DE" sz="2000" dirty="0" smtClean="0"/>
              <a:t>eigene Grafiken erstellen</a:t>
            </a:r>
          </a:p>
          <a:p>
            <a:pPr marL="638175" lvl="3" indent="-285750">
              <a:buFont typeface="Arial" panose="020B0604020202020204" pitchFamily="34" charset="0"/>
              <a:buChar char="•"/>
            </a:pPr>
            <a:r>
              <a:rPr lang="de-DE" sz="2000" dirty="0" smtClean="0"/>
              <a:t>eigene Geräusche aufnehmen</a:t>
            </a:r>
          </a:p>
          <a:p>
            <a:pPr marL="638175" lvl="3" indent="-285750">
              <a:buFont typeface="Arial" panose="020B0604020202020204" pitchFamily="34" charset="0"/>
              <a:buChar char="•"/>
            </a:pPr>
            <a:r>
              <a:rPr lang="de-DE" sz="2000" dirty="0" smtClean="0"/>
              <a:t>Hintergrund-Musik </a:t>
            </a:r>
          </a:p>
          <a:p>
            <a:pPr marL="638175" lvl="3" indent="-285750">
              <a:buFont typeface="Arial" panose="020B0604020202020204" pitchFamily="34" charset="0"/>
              <a:buChar char="•"/>
            </a:pPr>
            <a:endParaRPr lang="de-DE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Zeitmangel </a:t>
            </a:r>
            <a:r>
              <a:rPr lang="de-DE" dirty="0">
                <a:sym typeface="Wingdings" panose="05000000000000000000" pitchFamily="2" charset="2"/>
              </a:rPr>
              <a:t> Überschneidung der Phas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ym typeface="Wingdings" panose="05000000000000000000" pitchFamily="2" charset="2"/>
              </a:rPr>
              <a:t>Einarbeitung in </a:t>
            </a:r>
            <a:r>
              <a:rPr lang="de-DE" dirty="0" smtClean="0">
                <a:sym typeface="Wingdings" panose="05000000000000000000" pitchFamily="2" charset="2"/>
              </a:rPr>
              <a:t>GML</a:t>
            </a:r>
            <a:endParaRPr lang="de-DE" dirty="0">
              <a:sym typeface="Wingdings" panose="05000000000000000000" pitchFamily="2" charset="2"/>
            </a:endParaRPr>
          </a:p>
          <a:p>
            <a:pPr marL="638175" lvl="3" indent="-285750">
              <a:buFont typeface="Arial" panose="020B0604020202020204" pitchFamily="34" charset="0"/>
              <a:buChar char="•"/>
            </a:pPr>
            <a:endParaRPr lang="de-DE" sz="2000" dirty="0" smtClean="0"/>
          </a:p>
          <a:p>
            <a:pPr marL="638175" lvl="3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7710178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/>
              <a:t>Herausforderungen, Zukünftige Entwicklung</a:t>
            </a:r>
            <a:br>
              <a:rPr lang="de-DE" sz="3200" dirty="0"/>
            </a:b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Geplante, aber nicht umgesetzte Ziel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Logon</a:t>
            </a:r>
            <a:r>
              <a:rPr lang="de-DE" dirty="0" smtClean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Web-Schnittstelle </a:t>
            </a:r>
            <a:r>
              <a:rPr lang="de-DE" dirty="0" smtClean="0">
                <a:sym typeface="Wingdings" panose="05000000000000000000" pitchFamily="2" charset="2"/>
              </a:rPr>
              <a:t></a:t>
            </a:r>
            <a:r>
              <a:rPr lang="de-DE" dirty="0" smtClean="0"/>
              <a:t> persönlichen Score hochladen um sich mit anderen Spielern messen zu könn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r>
              <a:rPr lang="de-DE" dirty="0" smtClean="0"/>
              <a:t>Idee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CO-OP-Modus und Mehrspiel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Ingame</a:t>
            </a:r>
            <a:r>
              <a:rPr lang="de-DE" dirty="0" smtClean="0"/>
              <a:t>-Käufe für weitere Lev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Finazierung</a:t>
            </a:r>
            <a:r>
              <a:rPr lang="de-DE" dirty="0" smtClean="0"/>
              <a:t> durch Werbeeinblend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889302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Website </a:t>
            </a:r>
            <a:r>
              <a:rPr lang="de-DE" dirty="0" smtClean="0"/>
              <a:t>und Webserver des Retro Indie Games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smtClean="0"/>
              <a:t>Von Maximilian Kehl, Felix Rudloff, Simon Helms und Tilo Steinkam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936283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haltsverzeichni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06400" y="1716741"/>
            <a:ext cx="11328400" cy="4341159"/>
          </a:xfrm>
        </p:spPr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de-DE" dirty="0" smtClean="0"/>
              <a:t>Struktur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 smtClean="0"/>
              <a:t>Kommunikation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 smtClean="0"/>
              <a:t>Ziele der Homepage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 smtClean="0"/>
              <a:t>Ziele des Webservers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 smtClean="0"/>
              <a:t>Genutzte Frameworks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 smtClean="0"/>
              <a:t>Aufruf für Registrierung und Login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 smtClean="0"/>
              <a:t>Einfügen eines </a:t>
            </a:r>
            <a:r>
              <a:rPr lang="de-DE" dirty="0" err="1" smtClean="0"/>
              <a:t>Highscores</a:t>
            </a: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endParaRPr lang="de-DE" dirty="0" smtClean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6459836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1. Struktur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dirty="0" smtClean="0"/>
              <a:t>4 Teammitglied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dirty="0" smtClean="0"/>
              <a:t>4 Rollen</a:t>
            </a:r>
          </a:p>
          <a:p>
            <a:pPr marL="465138" lvl="2" indent="-285750">
              <a:buFont typeface="Arial" panose="020B0604020202020204" pitchFamily="34" charset="0"/>
              <a:buChar char="•"/>
            </a:pPr>
            <a:r>
              <a:rPr lang="de-DE" sz="2400" dirty="0" smtClean="0"/>
              <a:t>Teamleiter / </a:t>
            </a:r>
            <a:r>
              <a:rPr lang="de-DE" sz="2400" dirty="0" err="1" smtClean="0"/>
              <a:t>Scrummaster</a:t>
            </a:r>
            <a:r>
              <a:rPr lang="de-DE" sz="2400" dirty="0" smtClean="0"/>
              <a:t> (Maximilian Kehl)</a:t>
            </a:r>
          </a:p>
          <a:p>
            <a:pPr marL="465138" lvl="2" indent="-285750">
              <a:buFont typeface="Arial" panose="020B0604020202020204" pitchFamily="34" charset="0"/>
              <a:buChar char="•"/>
            </a:pPr>
            <a:r>
              <a:rPr lang="de-DE" sz="2400" dirty="0" smtClean="0"/>
              <a:t>Anforderungsmanager (Felix Rudloff)</a:t>
            </a:r>
          </a:p>
          <a:p>
            <a:pPr marL="465138" lvl="2" indent="-285750">
              <a:buFont typeface="Arial" panose="020B0604020202020204" pitchFamily="34" charset="0"/>
              <a:buChar char="•"/>
            </a:pPr>
            <a:r>
              <a:rPr lang="de-DE" sz="2400" dirty="0" smtClean="0"/>
              <a:t>Entwickler (Tilo Steinkamp)</a:t>
            </a:r>
          </a:p>
          <a:p>
            <a:pPr marL="465138" lvl="2" indent="-285750">
              <a:buFont typeface="Arial" panose="020B0604020202020204" pitchFamily="34" charset="0"/>
              <a:buChar char="•"/>
            </a:pPr>
            <a:r>
              <a:rPr lang="de-DE" sz="2400" dirty="0" err="1" smtClean="0"/>
              <a:t>Dokumentator</a:t>
            </a:r>
            <a:r>
              <a:rPr lang="de-DE" sz="2400" dirty="0" smtClean="0"/>
              <a:t> (Simon Helms &amp; Maximilian Kehl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dirty="0" smtClean="0"/>
              <a:t>Vorgehensweise nach </a:t>
            </a:r>
            <a:r>
              <a:rPr lang="de-DE" sz="2400" dirty="0" err="1" smtClean="0"/>
              <a:t>Scrum</a:t>
            </a:r>
            <a:endParaRPr lang="de-DE" sz="2400" dirty="0" smtClean="0"/>
          </a:p>
          <a:p>
            <a:pPr marL="465138" lvl="2" indent="-285750">
              <a:buFont typeface="Arial" panose="020B0604020202020204" pitchFamily="34" charset="0"/>
              <a:buChar char="•"/>
            </a:pPr>
            <a:r>
              <a:rPr lang="de-DE" sz="2400" dirty="0" smtClean="0"/>
              <a:t>„Regeltermine“ nach Absprache</a:t>
            </a:r>
          </a:p>
          <a:p>
            <a:pPr marL="465138" lvl="2" indent="-285750">
              <a:buFont typeface="Arial" panose="020B0604020202020204" pitchFamily="34" charset="0"/>
              <a:buChar char="•"/>
            </a:pPr>
            <a:r>
              <a:rPr lang="de-DE" sz="2400" dirty="0" smtClean="0"/>
              <a:t>Sprintlänge: eine „Arbeitszeit-“ Woche</a:t>
            </a:r>
            <a:endParaRPr lang="de-DE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465138" lvl="2" indent="-285750">
              <a:buFont typeface="Arial" panose="020B0604020202020204" pitchFamily="34" charset="0"/>
              <a:buChar char="•"/>
            </a:pP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194058216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2. Kommunikatio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2400" dirty="0" smtClean="0"/>
              <a:t>Team übergreifende Kommunikat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dirty="0" smtClean="0"/>
              <a:t>Alle </a:t>
            </a:r>
            <a:r>
              <a:rPr lang="de-DE" sz="2400" dirty="0"/>
              <a:t>2 Wochen Treffen von Team 1 und optionale Teilnahme von uns (Team 2</a:t>
            </a:r>
            <a:r>
              <a:rPr lang="de-DE" sz="2400" dirty="0" smtClean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dirty="0" smtClean="0"/>
              <a:t>Kommunikation zwischen Team 1 und Team 2 über Maximilian Kehl (Teamleiter Team 2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2400" dirty="0"/>
          </a:p>
          <a:p>
            <a:r>
              <a:rPr lang="de-DE" sz="2400" dirty="0" smtClean="0"/>
              <a:t>Team interne Kommunikat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dirty="0" smtClean="0"/>
              <a:t>Nicht Termin gebundene Treff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dirty="0" smtClean="0"/>
              <a:t>Absprachen über WhatsAp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dirty="0" smtClean="0"/>
              <a:t>Team-Treffen im </a:t>
            </a:r>
            <a:r>
              <a:rPr lang="de-DE" sz="2400" dirty="0" err="1" smtClean="0"/>
              <a:t>TeamSpeak</a:t>
            </a:r>
            <a:endParaRPr lang="de-DE" sz="2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dirty="0" smtClean="0"/>
              <a:t>Zusammenarbeit über </a:t>
            </a:r>
            <a:r>
              <a:rPr lang="de-DE" sz="2400" dirty="0" err="1" smtClean="0"/>
              <a:t>TeamSpeak</a:t>
            </a:r>
            <a:r>
              <a:rPr lang="de-DE" sz="2400" dirty="0" smtClean="0"/>
              <a:t> und/oder </a:t>
            </a:r>
            <a:r>
              <a:rPr lang="de-DE" sz="2400" dirty="0" err="1" smtClean="0"/>
              <a:t>Teamviewer</a:t>
            </a:r>
            <a:endParaRPr lang="de-DE" sz="2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87876858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3. Ziele der Homepag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dirty="0" smtClean="0"/>
              <a:t>Informationen zum Spiel</a:t>
            </a:r>
          </a:p>
          <a:p>
            <a:pPr marL="465138" lvl="2" indent="-285750">
              <a:buFont typeface="Arial" panose="020B0604020202020204" pitchFamily="34" charset="0"/>
              <a:buChar char="•"/>
            </a:pPr>
            <a:r>
              <a:rPr lang="de-DE" sz="2400" dirty="0" smtClean="0"/>
              <a:t>Screenshots</a:t>
            </a:r>
          </a:p>
          <a:p>
            <a:pPr marL="465138" lvl="2" indent="-285750">
              <a:buFont typeface="Arial" panose="020B0604020202020204" pitchFamily="34" charset="0"/>
              <a:buChar char="•"/>
            </a:pPr>
            <a:r>
              <a:rPr lang="de-DE" sz="2400" dirty="0" smtClean="0"/>
              <a:t>Video</a:t>
            </a:r>
          </a:p>
          <a:p>
            <a:pPr marL="465138" lvl="2" indent="-285750">
              <a:buFont typeface="Arial" panose="020B0604020202020204" pitchFamily="34" charset="0"/>
              <a:buChar char="•"/>
            </a:pPr>
            <a:r>
              <a:rPr lang="de-DE" sz="2400" dirty="0" smtClean="0"/>
              <a:t>Beschreibung</a:t>
            </a:r>
          </a:p>
          <a:p>
            <a:pPr marL="287338" lvl="1" indent="-285750">
              <a:buFont typeface="Arial" panose="020B0604020202020204" pitchFamily="34" charset="0"/>
              <a:buChar char="•"/>
            </a:pPr>
            <a:r>
              <a:rPr lang="de-DE" sz="2400" dirty="0" smtClean="0"/>
              <a:t>Anlehnung des Layouts an das Spiel</a:t>
            </a:r>
          </a:p>
          <a:p>
            <a:pPr marL="465138" lvl="2" indent="-285750">
              <a:buFont typeface="Arial" panose="020B0604020202020204" pitchFamily="34" charset="0"/>
              <a:buChar char="•"/>
            </a:pPr>
            <a:r>
              <a:rPr lang="de-DE" sz="2400" dirty="0" smtClean="0"/>
              <a:t>Verwendung von Spiel Grafiken</a:t>
            </a:r>
          </a:p>
          <a:p>
            <a:pPr marL="465138" lvl="2" indent="-285750">
              <a:buFont typeface="Arial" panose="020B0604020202020204" pitchFamily="34" charset="0"/>
              <a:buChar char="•"/>
            </a:pPr>
            <a:r>
              <a:rPr lang="de-DE" sz="2400" dirty="0" err="1" smtClean="0"/>
              <a:t>Easter</a:t>
            </a:r>
            <a:r>
              <a:rPr lang="de-DE" sz="2400" dirty="0" smtClean="0"/>
              <a:t> Egg</a:t>
            </a:r>
          </a:p>
          <a:p>
            <a:pPr marL="287338" lvl="1" indent="-285750">
              <a:buFont typeface="Arial" panose="020B0604020202020204" pitchFamily="34" charset="0"/>
              <a:buChar char="•"/>
            </a:pPr>
            <a:r>
              <a:rPr lang="de-DE" sz="2400" dirty="0" smtClean="0"/>
              <a:t>Download des Spiels</a:t>
            </a:r>
          </a:p>
          <a:p>
            <a:pPr marL="287338" lvl="1" indent="-285750">
              <a:buFont typeface="Arial" panose="020B0604020202020204" pitchFamily="34" charset="0"/>
              <a:buChar char="•"/>
            </a:pPr>
            <a:r>
              <a:rPr lang="de-DE" sz="2400" dirty="0" err="1" smtClean="0"/>
              <a:t>Highscore</a:t>
            </a:r>
            <a:r>
              <a:rPr lang="de-DE" sz="2400" dirty="0" smtClean="0"/>
              <a:t> Top 10 Anzeige</a:t>
            </a:r>
          </a:p>
          <a:p>
            <a:pPr marL="287338" lvl="1" indent="-285750">
              <a:buFont typeface="Arial" panose="020B0604020202020204" pitchFamily="34" charset="0"/>
              <a:buChar char="•"/>
            </a:pPr>
            <a:r>
              <a:rPr lang="de-DE" sz="2400" dirty="0" smtClean="0"/>
              <a:t>Impressum</a:t>
            </a:r>
          </a:p>
          <a:p>
            <a:pPr marL="287338" lvl="1" indent="-285750">
              <a:buFont typeface="Arial" panose="020B0604020202020204" pitchFamily="34" charset="0"/>
              <a:buChar char="•"/>
            </a:pP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69580435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4. Ziele des Webserver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dirty="0" smtClean="0"/>
              <a:t>Registrierung und Login eines Us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dirty="0" smtClean="0"/>
              <a:t>Eingabe von </a:t>
            </a:r>
            <a:r>
              <a:rPr lang="de-DE" sz="2400" dirty="0" err="1" smtClean="0"/>
              <a:t>Highscores</a:t>
            </a:r>
            <a:endParaRPr lang="de-DE" sz="2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dirty="0" smtClean="0"/>
              <a:t>Sicherheit durch MD5 Hash-Wert in Kombination mit einem Schlüssels</a:t>
            </a:r>
          </a:p>
          <a:p>
            <a:r>
              <a:rPr lang="de-DE" sz="2400" dirty="0"/>
              <a:t>	</a:t>
            </a:r>
            <a:r>
              <a:rPr lang="de-DE" sz="2400" dirty="0" smtClean="0"/>
              <a:t>( $%)</a:t>
            </a:r>
            <a:r>
              <a:rPr lang="de-DE" sz="2400" dirty="0" err="1"/>
              <a:t>TVJUFQ§evwio</a:t>
            </a:r>
            <a:r>
              <a:rPr lang="de-DE" sz="2400" dirty="0"/>
              <a:t>$%</a:t>
            </a:r>
            <a:r>
              <a:rPr lang="de-DE" sz="2400" dirty="0" smtClean="0"/>
              <a:t>34sgg94kre )</a:t>
            </a:r>
          </a:p>
          <a:p>
            <a:endParaRPr lang="de-DE" sz="24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sz="2400" dirty="0" smtClean="0"/>
              <a:t>Via Aufruf einer URL und dort per Übergabe von Parametern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sz="2400" dirty="0" smtClean="0"/>
              <a:t>Antwort mit Fehlern oder OKs</a:t>
            </a:r>
            <a:endParaRPr lang="de-DE" sz="2400" dirty="0"/>
          </a:p>
        </p:txBody>
      </p:sp>
    </p:spTree>
    <p:extLst>
      <p:ext uri="{BB962C8B-B14F-4D97-AF65-F5344CB8AC3E}">
        <p14:creationId xmlns:p14="http://schemas.microsoft.com/office/powerpoint/2010/main" val="379970608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5. Genutzte Frameworks</a:t>
            </a:r>
            <a:endParaRPr lang="de-DE" dirty="0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5985932"/>
              </p:ext>
            </p:extLst>
          </p:nvPr>
        </p:nvGraphicFramePr>
        <p:xfrm>
          <a:off x="1488787" y="1645804"/>
          <a:ext cx="9163626" cy="3905850"/>
        </p:xfrm>
        <a:graphic>
          <a:graphicData uri="http://schemas.openxmlformats.org/drawingml/2006/table">
            <a:tbl>
              <a:tblPr firstRow="1" bandRow="1">
                <a:tableStyleId>{793D81CF-94F2-401A-BA57-92F5A7B2D0C5}</a:tableStyleId>
              </a:tblPr>
              <a:tblGrid>
                <a:gridCol w="3054542"/>
                <a:gridCol w="3054542"/>
                <a:gridCol w="3054542"/>
              </a:tblGrid>
              <a:tr h="51076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2400" dirty="0">
                          <a:effectLst/>
                        </a:rPr>
                        <a:t>Framework</a:t>
                      </a:r>
                      <a:endParaRPr lang="de-DE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2400" dirty="0">
                          <a:effectLst/>
                        </a:rPr>
                        <a:t>Version</a:t>
                      </a:r>
                      <a:endParaRPr lang="de-DE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2400" dirty="0">
                          <a:effectLst/>
                        </a:rPr>
                        <a:t>Lizenz</a:t>
                      </a:r>
                      <a:endParaRPr lang="de-DE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51076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2400" dirty="0" err="1">
                          <a:effectLst/>
                        </a:rPr>
                        <a:t>Antlr</a:t>
                      </a:r>
                      <a:endParaRPr lang="de-DE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2400" dirty="0">
                          <a:effectLst/>
                        </a:rPr>
                        <a:t>3.4.1.9004</a:t>
                      </a:r>
                      <a:endParaRPr lang="de-DE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2400">
                          <a:effectLst/>
                        </a:rPr>
                        <a:t>BSD</a:t>
                      </a:r>
                      <a:endParaRPr lang="de-DE" sz="2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51076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2400">
                          <a:effectLst/>
                        </a:rPr>
                        <a:t>Bootstrap</a:t>
                      </a:r>
                      <a:endParaRPr lang="de-DE" sz="2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2400" dirty="0">
                          <a:effectLst/>
                        </a:rPr>
                        <a:t>3.3.6</a:t>
                      </a:r>
                      <a:endParaRPr lang="de-DE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2400">
                          <a:effectLst/>
                        </a:rPr>
                        <a:t>MIT</a:t>
                      </a:r>
                      <a:endParaRPr lang="de-DE" sz="2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51076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2400">
                          <a:effectLst/>
                        </a:rPr>
                        <a:t>jQuery</a:t>
                      </a:r>
                      <a:endParaRPr lang="de-DE" sz="2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2400" dirty="0">
                          <a:effectLst/>
                        </a:rPr>
                        <a:t>2.1.4</a:t>
                      </a:r>
                      <a:endParaRPr lang="de-DE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2400">
                          <a:effectLst/>
                        </a:rPr>
                        <a:t>MIT</a:t>
                      </a:r>
                      <a:endParaRPr lang="de-DE" sz="2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51076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2400">
                          <a:effectLst/>
                        </a:rPr>
                        <a:t>EntityFramework</a:t>
                      </a:r>
                      <a:endParaRPr lang="de-DE" sz="2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2400">
                          <a:effectLst/>
                        </a:rPr>
                        <a:t>6.1.3</a:t>
                      </a:r>
                      <a:endParaRPr lang="de-DE" sz="2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2400" dirty="0">
                          <a:effectLst/>
                        </a:rPr>
                        <a:t>Apache 2.0</a:t>
                      </a:r>
                      <a:endParaRPr lang="de-DE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51076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2400">
                          <a:effectLst/>
                        </a:rPr>
                        <a:t>Microsoft AspNet MVC</a:t>
                      </a:r>
                      <a:endParaRPr lang="de-DE" sz="2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2400">
                          <a:effectLst/>
                        </a:rPr>
                        <a:t>5.2.3</a:t>
                      </a:r>
                      <a:endParaRPr lang="de-DE" sz="2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2400" dirty="0">
                          <a:effectLst/>
                        </a:rPr>
                        <a:t>Apache 2.0</a:t>
                      </a:r>
                      <a:endParaRPr lang="de-DE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51076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2400">
                          <a:effectLst/>
                        </a:rPr>
                        <a:t>Owin</a:t>
                      </a:r>
                      <a:endParaRPr lang="de-DE" sz="2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2400">
                          <a:effectLst/>
                        </a:rPr>
                        <a:t>3.0.1</a:t>
                      </a:r>
                      <a:endParaRPr lang="de-DE" sz="2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2400" dirty="0">
                          <a:effectLst/>
                        </a:rPr>
                        <a:t>Apache 2.0</a:t>
                      </a:r>
                      <a:endParaRPr lang="de-DE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1093095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6. Aufrufe für Registrierung und Logi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Der Nutzer meldet sich am System an und gelangt in seinen persönlichen Bereich</a:t>
            </a:r>
            <a:r>
              <a:rPr lang="de-DE" dirty="0" smtClean="0"/>
              <a:t>.</a:t>
            </a:r>
          </a:p>
          <a:p>
            <a:endParaRPr lang="de-DE" dirty="0"/>
          </a:p>
          <a:p>
            <a:r>
              <a:rPr lang="de-DE" b="1" dirty="0"/>
              <a:t>Ressourcen</a:t>
            </a:r>
            <a:r>
              <a:rPr lang="de-DE" dirty="0"/>
              <a:t>: 		</a:t>
            </a:r>
            <a:r>
              <a:rPr lang="de-DE" dirty="0" smtClean="0"/>
              <a:t>	Benutzer </a:t>
            </a:r>
            <a:r>
              <a:rPr lang="de-DE" dirty="0"/>
              <a:t>(~/Account)</a:t>
            </a:r>
          </a:p>
          <a:p>
            <a:r>
              <a:rPr lang="de-DE" b="1" dirty="0"/>
              <a:t>Parameter</a:t>
            </a:r>
            <a:r>
              <a:rPr lang="de-DE" dirty="0"/>
              <a:t>: 		</a:t>
            </a:r>
            <a:r>
              <a:rPr lang="de-DE" dirty="0" smtClean="0"/>
              <a:t>		Nutzername</a:t>
            </a:r>
            <a:r>
              <a:rPr lang="de-DE" dirty="0"/>
              <a:t>, Email, Passwort, md5Hash</a:t>
            </a:r>
          </a:p>
          <a:p>
            <a:r>
              <a:rPr lang="de-DE" b="1" dirty="0"/>
              <a:t>Repräsentationen</a:t>
            </a:r>
            <a:r>
              <a:rPr lang="de-DE" dirty="0"/>
              <a:t>: 	</a:t>
            </a:r>
            <a:r>
              <a:rPr lang="de-DE" dirty="0" smtClean="0"/>
              <a:t>	HTML/Text</a:t>
            </a:r>
            <a:endParaRPr lang="de-DE" dirty="0"/>
          </a:p>
          <a:p>
            <a:r>
              <a:rPr lang="de-DE" b="1" dirty="0" err="1"/>
              <a:t>Use</a:t>
            </a:r>
            <a:r>
              <a:rPr lang="de-DE" b="1" dirty="0"/>
              <a:t> Cases</a:t>
            </a:r>
            <a:r>
              <a:rPr lang="de-DE" dirty="0"/>
              <a:t>:		</a:t>
            </a:r>
            <a:r>
              <a:rPr lang="de-DE" dirty="0" smtClean="0"/>
              <a:t>		Benutzer verwalten </a:t>
            </a:r>
            <a:r>
              <a:rPr lang="de-DE" dirty="0"/>
              <a:t>(GET</a:t>
            </a:r>
            <a:r>
              <a:rPr lang="de-DE" dirty="0" smtClean="0"/>
              <a:t>)</a:t>
            </a:r>
          </a:p>
          <a:p>
            <a:endParaRPr lang="de-DE" dirty="0" smtClean="0">
              <a:hlinkClick r:id="rId2"/>
            </a:endParaRPr>
          </a:p>
          <a:p>
            <a:r>
              <a:rPr lang="de-DE" b="1" dirty="0"/>
              <a:t>Aufbau für md5Hash</a:t>
            </a:r>
            <a:r>
              <a:rPr lang="de-DE" b="1" dirty="0" smtClean="0"/>
              <a:t>:</a:t>
            </a:r>
            <a:r>
              <a:rPr lang="de-DE" dirty="0"/>
              <a:t> </a:t>
            </a:r>
            <a:r>
              <a:rPr lang="de-DE" dirty="0" smtClean="0"/>
              <a:t>	“</a:t>
            </a:r>
            <a:r>
              <a:rPr lang="de-DE" dirty="0"/>
              <a:t>mail“+“</a:t>
            </a:r>
            <a:r>
              <a:rPr lang="de-DE" dirty="0" err="1"/>
              <a:t>name</a:t>
            </a:r>
            <a:r>
              <a:rPr lang="de-DE" dirty="0"/>
              <a:t>“+“</a:t>
            </a:r>
            <a:r>
              <a:rPr lang="de-DE" dirty="0" err="1"/>
              <a:t>passwort</a:t>
            </a:r>
            <a:r>
              <a:rPr lang="de-DE" dirty="0"/>
              <a:t>“+“</a:t>
            </a:r>
            <a:r>
              <a:rPr lang="de-DE" dirty="0" err="1"/>
              <a:t>schlüssel</a:t>
            </a:r>
            <a:r>
              <a:rPr lang="de-DE" dirty="0"/>
              <a:t>“ = </a:t>
            </a:r>
            <a:r>
              <a:rPr lang="de-DE" dirty="0" err="1"/>
              <a:t>hash</a:t>
            </a:r>
            <a:endParaRPr lang="de-DE" dirty="0"/>
          </a:p>
          <a:p>
            <a:endParaRPr lang="de-DE" dirty="0">
              <a:hlinkClick r:id="rId2"/>
            </a:endParaRPr>
          </a:p>
          <a:p>
            <a:r>
              <a:rPr lang="de-DE" dirty="0" smtClean="0">
                <a:hlinkClick r:id="rId2"/>
              </a:rPr>
              <a:t>http</a:t>
            </a:r>
            <a:r>
              <a:rPr lang="de-DE" dirty="0">
                <a:hlinkClick r:id="rId2"/>
              </a:rPr>
              <a:t>://localhost:8050/Account/?email=test@test.de&amp;name=test&amp;password=Test!234&amp;confirmPassword=Test!234&amp;md5Hash=e565867acd81a0e0beeb542951827126</a:t>
            </a:r>
            <a:r>
              <a:rPr lang="de-DE" dirty="0"/>
              <a:t> 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121930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genda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06400" y="966355"/>
            <a:ext cx="11328400" cy="5091545"/>
          </a:xfrm>
        </p:spPr>
        <p:txBody>
          <a:bodyPr/>
          <a:lstStyle/>
          <a:p>
            <a:r>
              <a:rPr lang="de-DE" sz="2000" dirty="0" smtClean="0"/>
              <a:t>Team 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000" dirty="0" smtClean="0"/>
              <a:t>Vorstellung der Ide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000" dirty="0" smtClean="0"/>
              <a:t>Projektorganisation</a:t>
            </a:r>
          </a:p>
          <a:p>
            <a:pPr marL="465138" lvl="2" indent="-285750">
              <a:buFont typeface="Arial" panose="020B0604020202020204" pitchFamily="34" charset="0"/>
              <a:buChar char="•"/>
            </a:pPr>
            <a:r>
              <a:rPr lang="de-DE" sz="2000" dirty="0" smtClean="0"/>
              <a:t>Projektteam</a:t>
            </a:r>
          </a:p>
          <a:p>
            <a:pPr marL="465138" lvl="2" indent="-285750">
              <a:buFont typeface="Arial" panose="020B0604020202020204" pitchFamily="34" charset="0"/>
              <a:buChar char="•"/>
            </a:pPr>
            <a:r>
              <a:rPr lang="de-DE" sz="2000" dirty="0" smtClean="0"/>
              <a:t>Kommunikation</a:t>
            </a:r>
          </a:p>
          <a:p>
            <a:pPr marL="465138" lvl="2" indent="-285750">
              <a:buFont typeface="Arial" panose="020B0604020202020204" pitchFamily="34" charset="0"/>
              <a:buChar char="•"/>
            </a:pPr>
            <a:r>
              <a:rPr lang="de-DE" sz="2000" dirty="0" smtClean="0"/>
              <a:t>Vorgangsmodell</a:t>
            </a:r>
          </a:p>
          <a:p>
            <a:pPr marL="287338" lvl="1" indent="-285750">
              <a:buFont typeface="Arial" panose="020B0604020202020204" pitchFamily="34" charset="0"/>
              <a:buChar char="•"/>
            </a:pPr>
            <a:r>
              <a:rPr lang="de-DE" sz="2000" dirty="0" smtClean="0"/>
              <a:t>Architektur</a:t>
            </a:r>
          </a:p>
          <a:p>
            <a:pPr marL="287338" lvl="1" indent="-285750">
              <a:buFont typeface="Arial" panose="020B0604020202020204" pitchFamily="34" charset="0"/>
              <a:buChar char="•"/>
            </a:pPr>
            <a:r>
              <a:rPr lang="de-DE" sz="2000" dirty="0" smtClean="0"/>
              <a:t>Versionsverwaltung</a:t>
            </a:r>
          </a:p>
          <a:p>
            <a:pPr marL="287338" lvl="1" indent="-285750">
              <a:buFont typeface="Arial" panose="020B0604020202020204" pitchFamily="34" charset="0"/>
              <a:buChar char="•"/>
            </a:pPr>
            <a:r>
              <a:rPr lang="de-DE" sz="2000" dirty="0" smtClean="0"/>
              <a:t>Herausforderun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000" dirty="0" smtClean="0"/>
              <a:t>Zukünftige Entwickl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2000" dirty="0"/>
          </a:p>
          <a:p>
            <a:r>
              <a:rPr lang="de-DE" sz="2000" dirty="0" smtClean="0"/>
              <a:t>Team 2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dirty="0" smtClean="0"/>
              <a:t>separate Agenda</a:t>
            </a:r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190700908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7. Einfügen eines </a:t>
            </a:r>
            <a:r>
              <a:rPr lang="de-DE" dirty="0" err="1" smtClean="0"/>
              <a:t>Highscore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01918" y="1773238"/>
            <a:ext cx="11328400" cy="4284662"/>
          </a:xfrm>
        </p:spPr>
        <p:txBody>
          <a:bodyPr/>
          <a:lstStyle/>
          <a:p>
            <a:r>
              <a:rPr lang="de-DE" dirty="0"/>
              <a:t>Der angemeldete Nutzer kann seinen eigenen </a:t>
            </a:r>
            <a:r>
              <a:rPr lang="de-DE" dirty="0" err="1"/>
              <a:t>Highscore</a:t>
            </a:r>
            <a:r>
              <a:rPr lang="de-DE" dirty="0"/>
              <a:t> und alle </a:t>
            </a:r>
            <a:r>
              <a:rPr lang="de-DE" dirty="0" err="1"/>
              <a:t>Highscores</a:t>
            </a:r>
            <a:r>
              <a:rPr lang="de-DE" dirty="0"/>
              <a:t> einsehen</a:t>
            </a:r>
            <a:r>
              <a:rPr lang="de-DE" dirty="0" smtClean="0"/>
              <a:t>.</a:t>
            </a:r>
          </a:p>
          <a:p>
            <a:endParaRPr lang="de-DE" dirty="0"/>
          </a:p>
          <a:p>
            <a:r>
              <a:rPr lang="de-DE" b="1" dirty="0"/>
              <a:t>Ressourcen</a:t>
            </a:r>
            <a:r>
              <a:rPr lang="de-DE" dirty="0"/>
              <a:t>: 		</a:t>
            </a:r>
            <a:r>
              <a:rPr lang="de-DE" dirty="0" smtClean="0"/>
              <a:t>	</a:t>
            </a:r>
            <a:r>
              <a:rPr lang="de-DE" dirty="0" err="1" smtClean="0"/>
              <a:t>Highscores</a:t>
            </a:r>
            <a:r>
              <a:rPr lang="de-DE" dirty="0" smtClean="0"/>
              <a:t> </a:t>
            </a:r>
            <a:r>
              <a:rPr lang="de-DE" dirty="0"/>
              <a:t>(~/</a:t>
            </a:r>
            <a:r>
              <a:rPr lang="de-DE" dirty="0" err="1"/>
              <a:t>Highscores</a:t>
            </a:r>
            <a:r>
              <a:rPr lang="de-DE" dirty="0"/>
              <a:t>)</a:t>
            </a:r>
          </a:p>
          <a:p>
            <a:r>
              <a:rPr lang="de-DE" dirty="0" smtClean="0"/>
              <a:t>						</a:t>
            </a:r>
            <a:r>
              <a:rPr lang="de-DE" dirty="0" err="1" smtClean="0"/>
              <a:t>Highscore</a:t>
            </a:r>
            <a:r>
              <a:rPr lang="de-DE" dirty="0" smtClean="0"/>
              <a:t> </a:t>
            </a:r>
            <a:r>
              <a:rPr lang="de-DE" dirty="0"/>
              <a:t>Liste (~/</a:t>
            </a:r>
            <a:r>
              <a:rPr lang="de-DE" dirty="0" err="1"/>
              <a:t>Highscores</a:t>
            </a:r>
            <a:r>
              <a:rPr lang="de-DE" dirty="0"/>
              <a:t> /List)</a:t>
            </a:r>
          </a:p>
          <a:p>
            <a:r>
              <a:rPr lang="de-DE" b="1" dirty="0"/>
              <a:t>Parameter</a:t>
            </a:r>
            <a:r>
              <a:rPr lang="de-DE" dirty="0"/>
              <a:t>: 		</a:t>
            </a:r>
            <a:r>
              <a:rPr lang="de-DE" dirty="0" smtClean="0"/>
              <a:t>		Nutzername</a:t>
            </a:r>
            <a:r>
              <a:rPr lang="de-DE" dirty="0"/>
              <a:t>, Punktestand, md5Hash</a:t>
            </a:r>
          </a:p>
          <a:p>
            <a:r>
              <a:rPr lang="de-DE" b="1" dirty="0"/>
              <a:t>Repräsentationen</a:t>
            </a:r>
            <a:r>
              <a:rPr lang="de-DE" dirty="0"/>
              <a:t>:	</a:t>
            </a:r>
            <a:r>
              <a:rPr lang="de-DE" dirty="0" smtClean="0"/>
              <a:t>	JSON </a:t>
            </a:r>
            <a:r>
              <a:rPr lang="de-DE" dirty="0"/>
              <a:t>Objekt, HTML/Text</a:t>
            </a:r>
          </a:p>
          <a:p>
            <a:r>
              <a:rPr lang="de-DE" b="1" dirty="0" err="1" smtClean="0"/>
              <a:t>Use</a:t>
            </a:r>
            <a:r>
              <a:rPr lang="de-DE" b="1" dirty="0" smtClean="0"/>
              <a:t> Cases</a:t>
            </a:r>
            <a:r>
              <a:rPr lang="de-DE" dirty="0" smtClean="0"/>
              <a:t>:				</a:t>
            </a:r>
            <a:r>
              <a:rPr lang="de-DE" dirty="0" err="1" smtClean="0"/>
              <a:t>Highscores</a:t>
            </a:r>
            <a:r>
              <a:rPr lang="de-DE" dirty="0" smtClean="0"/>
              <a:t> Eintragen(GET)</a:t>
            </a:r>
          </a:p>
          <a:p>
            <a:r>
              <a:rPr lang="de-DE" dirty="0" smtClean="0"/>
              <a:t>						</a:t>
            </a:r>
            <a:r>
              <a:rPr lang="de-DE" dirty="0" err="1" smtClean="0"/>
              <a:t>Highscores</a:t>
            </a:r>
            <a:r>
              <a:rPr lang="de-DE" dirty="0" smtClean="0"/>
              <a:t> abrufen </a:t>
            </a:r>
            <a:r>
              <a:rPr lang="de-DE" dirty="0"/>
              <a:t>(GET)</a:t>
            </a:r>
          </a:p>
          <a:p>
            <a:endParaRPr lang="de-DE" dirty="0" smtClean="0">
              <a:hlinkClick r:id="rId2"/>
            </a:endParaRPr>
          </a:p>
          <a:p>
            <a:r>
              <a:rPr lang="de-DE" b="1" dirty="0"/>
              <a:t>Aufbau für md5Hash</a:t>
            </a:r>
            <a:r>
              <a:rPr lang="de-DE" b="1" dirty="0" smtClean="0"/>
              <a:t>:</a:t>
            </a:r>
            <a:r>
              <a:rPr lang="de-DE" dirty="0"/>
              <a:t>	</a:t>
            </a:r>
            <a:r>
              <a:rPr lang="de-DE" dirty="0" smtClean="0"/>
              <a:t>“</a:t>
            </a:r>
            <a:r>
              <a:rPr lang="de-DE" dirty="0" err="1"/>
              <a:t>name</a:t>
            </a:r>
            <a:r>
              <a:rPr lang="de-DE" dirty="0"/>
              <a:t>“+“score“+“</a:t>
            </a:r>
            <a:r>
              <a:rPr lang="de-DE" dirty="0" err="1"/>
              <a:t>schlüssel</a:t>
            </a:r>
            <a:r>
              <a:rPr lang="de-DE" dirty="0"/>
              <a:t>“ = </a:t>
            </a:r>
            <a:r>
              <a:rPr lang="de-DE" dirty="0" err="1"/>
              <a:t>hash</a:t>
            </a:r>
            <a:endParaRPr lang="de-DE" dirty="0"/>
          </a:p>
          <a:p>
            <a:endParaRPr lang="de-DE" dirty="0">
              <a:hlinkClick r:id="rId2"/>
            </a:endParaRPr>
          </a:p>
          <a:p>
            <a:r>
              <a:rPr lang="de-DE" dirty="0" smtClean="0">
                <a:hlinkClick r:id="rId2"/>
              </a:rPr>
              <a:t>http://localhost:8050/Highscores</a:t>
            </a:r>
            <a:r>
              <a:rPr lang="de-DE" dirty="0">
                <a:hlinkClick r:id="rId2"/>
              </a:rPr>
              <a:t>/?</a:t>
            </a:r>
            <a:r>
              <a:rPr lang="de-DE" dirty="0" smtClean="0">
                <a:hlinkClick r:id="rId2"/>
              </a:rPr>
              <a:t>name=Test&amp;Score=110&amp;md5Hash=a744c5a9c5f724da978c7fce887c7671</a:t>
            </a:r>
            <a:r>
              <a:rPr lang="de-DE" dirty="0" smtClean="0"/>
              <a:t> </a:t>
            </a:r>
            <a:endParaRPr lang="de-DE" dirty="0"/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590576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rojektorganisation: </a:t>
            </a:r>
            <a:br>
              <a:rPr lang="de-DE" dirty="0" smtClean="0"/>
            </a:br>
            <a:r>
              <a:rPr lang="de-DE" dirty="0" smtClean="0"/>
              <a:t>Projektteam</a:t>
            </a:r>
            <a:endParaRPr lang="de-DE" dirty="0"/>
          </a:p>
        </p:txBody>
      </p:sp>
      <p:graphicFrame>
        <p:nvGraphicFramePr>
          <p:cNvPr id="4" name="Inhaltsplatzhalt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19634732"/>
              </p:ext>
            </p:extLst>
          </p:nvPr>
        </p:nvGraphicFramePr>
        <p:xfrm>
          <a:off x="406400" y="467591"/>
          <a:ext cx="11328400" cy="52162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301336" y="5850082"/>
            <a:ext cx="114334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/>
              <a:t>5 Mitglieder: TB: Tino Blau | JG: Juraj Graser | MK: Maria Kömmpel | DS: Dan Schieck | KW: Katharina Wieg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85734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rojektorganisation: Kommunikatio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dirty="0" smtClean="0"/>
              <a:t>Online Konferenzen: Freitags 12 - 14 Uhr alle 2 Woch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dirty="0" smtClean="0"/>
              <a:t>Direkte Kommunikation über E-Mail, WhatsApp-Grupp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dirty="0" smtClean="0"/>
              <a:t>Kommunikation zwischen Team 1 &amp; 2 über die Teamleiter Tino Blau und Maximilian Keh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dirty="0" smtClean="0"/>
              <a:t>AZ-Phase / Hochschulphas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446728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rojektorganisation: Vorgangsmodell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Team 1: modifiziertes Wasserfallmodel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Lineares Vorgehensmodel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Ergebnisse der der Phasen als Vorgabe für nächste Pha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Modifikation:</a:t>
            </a:r>
          </a:p>
          <a:p>
            <a:pPr marL="638175" lvl="3" indent="-285750">
              <a:buFont typeface="Arial" panose="020B0604020202020204" pitchFamily="34" charset="0"/>
              <a:buChar char="•"/>
            </a:pPr>
            <a:r>
              <a:rPr lang="de-DE" dirty="0" smtClean="0"/>
              <a:t>Rücksprünge möglich</a:t>
            </a:r>
          </a:p>
          <a:p>
            <a:pPr marL="638175" lvl="3" indent="-285750">
              <a:buFont typeface="Arial" panose="020B0604020202020204" pitchFamily="34" charset="0"/>
              <a:buChar char="•"/>
            </a:pPr>
            <a:r>
              <a:rPr lang="de-DE" dirty="0" smtClean="0"/>
              <a:t>Phasen überschneiden sich Aufgrund Zeitmang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 smtClean="0"/>
          </a:p>
          <a:p>
            <a:r>
              <a:rPr lang="de-DE" dirty="0" smtClean="0"/>
              <a:t>Team 2: </a:t>
            </a:r>
            <a:r>
              <a:rPr lang="de-DE" dirty="0" err="1" smtClean="0"/>
              <a:t>Scrum</a:t>
            </a:r>
            <a:r>
              <a:rPr lang="de-DE" dirty="0" smtClean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graphicFrame>
        <p:nvGraphicFramePr>
          <p:cNvPr id="4" name="Diagramm 3"/>
          <p:cNvGraphicFramePr/>
          <p:nvPr>
            <p:extLst>
              <p:ext uri="{D42A27DB-BD31-4B8C-83A1-F6EECF244321}">
                <p14:modId xmlns:p14="http://schemas.microsoft.com/office/powerpoint/2010/main" val="4156024195"/>
              </p:ext>
            </p:extLst>
          </p:nvPr>
        </p:nvGraphicFramePr>
        <p:xfrm>
          <a:off x="7335981" y="793751"/>
          <a:ext cx="2875973" cy="50680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3127664" y="6153236"/>
            <a:ext cx="644236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/>
              <a:t>Vgl.: </a:t>
            </a:r>
            <a:r>
              <a:rPr lang="de-DE" sz="1100" dirty="0">
                <a:hlinkClick r:id="rId7"/>
              </a:rPr>
              <a:t>http://</a:t>
            </a:r>
            <a:r>
              <a:rPr lang="de-DE" sz="1100" dirty="0" smtClean="0">
                <a:hlinkClick r:id="rId7"/>
              </a:rPr>
              <a:t>www.cs.umd.edu/class/spring2003/cmsc838p/Process/waterfall.pdf</a:t>
            </a:r>
            <a:r>
              <a:rPr lang="de-DE" sz="1100" dirty="0" smtClean="0"/>
              <a:t> [03.01.16, 15:00]</a:t>
            </a:r>
            <a:endParaRPr lang="de-DE" sz="1100" dirty="0"/>
          </a:p>
        </p:txBody>
      </p:sp>
    </p:spTree>
    <p:extLst>
      <p:ext uri="{BB962C8B-B14F-4D97-AF65-F5344CB8AC3E}">
        <p14:creationId xmlns:p14="http://schemas.microsoft.com/office/powerpoint/2010/main" val="41918623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nhaltsplatzhalter 3"/>
          <p:cNvPicPr>
            <a:picLocks noGrp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596737" y="955964"/>
            <a:ext cx="8998527" cy="5309754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organgsmodell: Einblick in die Planu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177820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rchitektur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IDE „</a:t>
            </a:r>
            <a:r>
              <a:rPr lang="de-DE" dirty="0" err="1" smtClean="0"/>
              <a:t>GameMaker</a:t>
            </a:r>
            <a:r>
              <a:rPr lang="de-DE" dirty="0" smtClean="0"/>
              <a:t>: Studio Professional“</a:t>
            </a:r>
          </a:p>
          <a:p>
            <a:pPr marL="465138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Integrierte Grafikeinheit erstellt 60 Bilder / Sekunde </a:t>
            </a:r>
          </a:p>
          <a:p>
            <a:pPr marL="465138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Routinen-Bibliotheken erleichtern Programmierung von Spiel-Objekten</a:t>
            </a:r>
          </a:p>
          <a:p>
            <a:pPr marL="465138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Exportmöglichkeit für verschiedene Plattformen</a:t>
            </a:r>
          </a:p>
          <a:p>
            <a:pPr marL="465138" lvl="2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Leveldesign</a:t>
            </a:r>
            <a:r>
              <a:rPr lang="de-DE" dirty="0" smtClean="0"/>
              <a:t> per </a:t>
            </a:r>
            <a:r>
              <a:rPr lang="de-DE" dirty="0" err="1" smtClean="0"/>
              <a:t>Drag&amp;Drop</a:t>
            </a:r>
            <a:r>
              <a:rPr lang="de-DE" dirty="0" smtClean="0"/>
              <a:t> mit zuvor erstellten Objekten</a:t>
            </a:r>
          </a:p>
          <a:p>
            <a:pPr marL="287338" lvl="1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7338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Programmiersprache </a:t>
            </a:r>
            <a:r>
              <a:rPr lang="de-DE" dirty="0" err="1" smtClean="0"/>
              <a:t>GameMakerLanguage</a:t>
            </a:r>
            <a:r>
              <a:rPr lang="de-DE" dirty="0" smtClean="0"/>
              <a:t> (GML)</a:t>
            </a:r>
          </a:p>
          <a:p>
            <a:pPr marL="465138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Objektorientiert</a:t>
            </a:r>
          </a:p>
          <a:p>
            <a:pPr marL="465138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Einschränkungen:</a:t>
            </a:r>
          </a:p>
          <a:p>
            <a:pPr marL="823913" lvl="4" indent="-285750">
              <a:buFont typeface="Arial" panose="020B0604020202020204" pitchFamily="34" charset="0"/>
              <a:buChar char="•"/>
            </a:pPr>
            <a:r>
              <a:rPr lang="de-DE" dirty="0" smtClean="0"/>
              <a:t>Methoden / Variablen immer Sichtbar solange Instanz vorhanden</a:t>
            </a:r>
          </a:p>
          <a:p>
            <a:pPr marL="823913" lvl="4" indent="-285750">
              <a:buFont typeface="Arial" panose="020B0604020202020204" pitchFamily="34" charset="0"/>
              <a:buChar char="•"/>
            </a:pPr>
            <a:r>
              <a:rPr lang="de-DE" dirty="0" smtClean="0"/>
              <a:t>Schleifen können Performance beeinflussen</a:t>
            </a:r>
          </a:p>
          <a:p>
            <a:pPr marL="823913" lvl="4" indent="-28575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465138" lvl="2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0813" y="874785"/>
            <a:ext cx="3233609" cy="817418"/>
          </a:xfrm>
          <a:prstGeom prst="rect">
            <a:avLst/>
          </a:prstGeom>
        </p:spPr>
      </p:pic>
      <p:sp>
        <p:nvSpPr>
          <p:cNvPr id="5" name="Textfeld 4"/>
          <p:cNvSpPr txBox="1"/>
          <p:nvPr/>
        </p:nvSpPr>
        <p:spPr>
          <a:xfrm>
            <a:off x="1809750" y="6000435"/>
            <a:ext cx="8572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 smtClean="0"/>
              <a:t>Vgl.: https</a:t>
            </a:r>
            <a:r>
              <a:rPr lang="de-DE" sz="1200" dirty="0"/>
              <a:t>://</a:t>
            </a:r>
            <a:r>
              <a:rPr lang="de-DE" sz="1200" dirty="0" smtClean="0"/>
              <a:t>www.yoyogames.com/studio [03.01.15 15:30]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17534401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rchitektur: IDE </a:t>
            </a:r>
            <a:r>
              <a:rPr lang="de-DE" dirty="0" err="1" smtClean="0"/>
              <a:t>GameMaker</a:t>
            </a:r>
            <a:r>
              <a:rPr lang="de-DE" dirty="0" smtClean="0"/>
              <a:t>: Studio Pro</a:t>
            </a:r>
            <a:endParaRPr lang="de-DE" dirty="0"/>
          </a:p>
        </p:txBody>
      </p:sp>
      <p:pic>
        <p:nvPicPr>
          <p:cNvPr id="4" name="Inhaltsplatzhalt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304837" y="913989"/>
            <a:ext cx="9582327" cy="5382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0747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ersionsverwaltun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dirty="0" err="1" smtClean="0"/>
              <a:t>Versionierung</a:t>
            </a:r>
            <a:r>
              <a:rPr lang="de-DE" sz="2400" dirty="0" smtClean="0"/>
              <a:t> mittels </a:t>
            </a:r>
            <a:r>
              <a:rPr lang="de-DE" sz="2400" dirty="0" err="1" smtClean="0"/>
              <a:t>GitHub</a:t>
            </a:r>
            <a:endParaRPr lang="de-DE" sz="2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dirty="0" err="1" smtClean="0"/>
              <a:t>Versionierung</a:t>
            </a:r>
            <a:r>
              <a:rPr lang="de-DE" sz="2400" dirty="0" smtClean="0"/>
              <a:t> mit Nummern erst ab dem Beta-Release am 03.01.16 (Reduzierung Aufwand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dirty="0"/>
              <a:t>Link</a:t>
            </a:r>
            <a:r>
              <a:rPr lang="de-DE" sz="2400" dirty="0" smtClean="0"/>
              <a:t>: https</a:t>
            </a:r>
            <a:r>
              <a:rPr lang="de-DE" sz="2400" dirty="0"/>
              <a:t>://github.com/Vusur/HfTL_SW_Projekt/</a:t>
            </a:r>
            <a:endParaRPr lang="de-DE" sz="2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dirty="0" smtClean="0"/>
              <a:t>Arbeiten an der Software bringen Veränderung der automatisch erstellten Projektdatei von GM:S mit sich</a:t>
            </a:r>
            <a:br>
              <a:rPr lang="de-DE" sz="2400" dirty="0" smtClean="0"/>
            </a:br>
            <a:r>
              <a:rPr lang="de-DE" sz="2400" dirty="0" smtClean="0">
                <a:sym typeface="Wingdings" panose="05000000000000000000" pitchFamily="2" charset="2"/>
              </a:rPr>
              <a:t> häufig manuelles Eingreifen nach Versuch eines </a:t>
            </a:r>
            <a:r>
              <a:rPr lang="de-DE" sz="2400" dirty="0" err="1" smtClean="0">
                <a:sym typeface="Wingdings" panose="05000000000000000000" pitchFamily="2" charset="2"/>
              </a:rPr>
              <a:t>Merges</a:t>
            </a:r>
            <a:r>
              <a:rPr lang="de-DE" sz="2400" dirty="0" smtClean="0">
                <a:sym typeface="Wingdings" panose="05000000000000000000" pitchFamily="2" charset="2"/>
              </a:rPr>
              <a:t> nötig wenn mehrere Entwickler gleichzeitig gearbeitet hab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dirty="0" err="1" smtClean="0">
                <a:sym typeface="Wingdings" panose="05000000000000000000" pitchFamily="2" charset="2"/>
              </a:rPr>
              <a:t>Branches</a:t>
            </a:r>
            <a:r>
              <a:rPr lang="de-DE" sz="2400" dirty="0" smtClean="0">
                <a:sym typeface="Wingdings" panose="05000000000000000000" pitchFamily="2" charset="2"/>
              </a:rPr>
              <a:t> für Team 2 oder nebenherlaufende Entwicklungen (</a:t>
            </a:r>
            <a:r>
              <a:rPr lang="de-DE" sz="2400" dirty="0" err="1" smtClean="0">
                <a:sym typeface="Wingdings" panose="05000000000000000000" pitchFamily="2" charset="2"/>
              </a:rPr>
              <a:t>Highscore</a:t>
            </a:r>
            <a:r>
              <a:rPr lang="de-DE" sz="2400" dirty="0" smtClean="0">
                <a:sym typeface="Wingdings" panose="05000000000000000000" pitchFamily="2" charset="2"/>
              </a:rPr>
              <a:t>) reduzieren Aufwand des manuellen Anpasse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 smtClean="0">
              <a:sym typeface="Wingdings" panose="05000000000000000000" pitchFamily="2" charset="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182804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.lnxbAye0yidQm86ZWHr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D3YlSUFEe2Gobitp6ku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iOiX8V1EujpSZz_EeuD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rchWB7NUmAPBjhxDRfh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zO2scRlUm3uM.dwHaXgw"/>
</p:tagLst>
</file>

<file path=ppt/theme/theme1.xml><?xml version="1.0" encoding="utf-8"?>
<a:theme xmlns:a="http://schemas.openxmlformats.org/drawingml/2006/main" name="HfTL">
  <a:themeElements>
    <a:clrScheme name="TELEKOM_Master_DE_RC6 Kopie 1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FFFFFF"/>
      </a:accent3>
      <a:accent4>
        <a:srgbClr val="545454"/>
      </a:accent4>
      <a:accent5>
        <a:srgbClr val="B0BFD2"/>
      </a:accent5>
      <a:accent6>
        <a:srgbClr val="E5BD5D"/>
      </a:accent6>
      <a:hlink>
        <a:srgbClr val="646464"/>
      </a:hlink>
      <a:folHlink>
        <a:srgbClr val="9D9D9D"/>
      </a:folHlink>
    </a:clrScheme>
    <a:fontScheme name="TELEKOM_Master_DE_RC6 Kopie">
      <a:majorFont>
        <a:latin typeface="Tele-GroteskUlt"/>
        <a:ea typeface=""/>
        <a:cs typeface=""/>
      </a:majorFont>
      <a:minorFont>
        <a:latin typeface="Tele-GroteskFe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TELEKOM_Master_DE_RC6 Kopie 1">
        <a:dk1>
          <a:srgbClr val="646464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545454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2">
        <a:dk1>
          <a:srgbClr val="000000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000000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3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7C7C7C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HfTL" id="{CCFDA8DA-AEE1-4AF8-9A2D-F80175EB9E09}" vid="{974366B4-F983-40FD-9FEA-246F8FA43EF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HfTL</Template>
  <TotalTime>0</TotalTime>
  <Words>612</Words>
  <Application>Microsoft Office PowerPoint</Application>
  <PresentationFormat>Breitbild</PresentationFormat>
  <Paragraphs>186</Paragraphs>
  <Slides>20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0</vt:i4>
      </vt:variant>
    </vt:vector>
  </HeadingPairs>
  <TitlesOfParts>
    <vt:vector size="28" baseType="lpstr">
      <vt:lpstr>Arial</vt:lpstr>
      <vt:lpstr>Calibri</vt:lpstr>
      <vt:lpstr>Tele-GroteskFet</vt:lpstr>
      <vt:lpstr>Tele-GroteskNor</vt:lpstr>
      <vt:lpstr>Tele-GroteskUlt</vt:lpstr>
      <vt:lpstr>Times New Roman</vt:lpstr>
      <vt:lpstr>Wingdings</vt:lpstr>
      <vt:lpstr>HfTL</vt:lpstr>
      <vt:lpstr>Retro Indie Game</vt:lpstr>
      <vt:lpstr>Agenda</vt:lpstr>
      <vt:lpstr>Projektorganisation:  Projektteam</vt:lpstr>
      <vt:lpstr>Projektorganisation: Kommunikation</vt:lpstr>
      <vt:lpstr>Projektorganisation: Vorgangsmodell </vt:lpstr>
      <vt:lpstr>Vorgangsmodell: Einblick in die Planung</vt:lpstr>
      <vt:lpstr>Architektur</vt:lpstr>
      <vt:lpstr>Architektur: IDE GameMaker: Studio Pro</vt:lpstr>
      <vt:lpstr>Versionsverwaltung</vt:lpstr>
      <vt:lpstr>Herausforderungen</vt:lpstr>
      <vt:lpstr>Herausforderungen, Zukünftige Entwicklung </vt:lpstr>
      <vt:lpstr>Website und Webserver des Retro Indie Games</vt:lpstr>
      <vt:lpstr>Inhaltsverzeichnis</vt:lpstr>
      <vt:lpstr>1. Struktur</vt:lpstr>
      <vt:lpstr>2. Kommunikation</vt:lpstr>
      <vt:lpstr>3. Ziele der Homepage</vt:lpstr>
      <vt:lpstr>4. Ziele des Webservers</vt:lpstr>
      <vt:lpstr>5. Genutzte Frameworks</vt:lpstr>
      <vt:lpstr>6. Aufrufe für Registrierung und Login</vt:lpstr>
      <vt:lpstr>7. Einfügen eines Highscore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biste und Webserver des Retro Indie Games</dc:title>
  <dc:creator>Tilo Steinkamp</dc:creator>
  <cp:lastModifiedBy>Graser</cp:lastModifiedBy>
  <cp:revision>38</cp:revision>
  <dcterms:created xsi:type="dcterms:W3CDTF">2016-01-03T11:02:03Z</dcterms:created>
  <dcterms:modified xsi:type="dcterms:W3CDTF">2016-01-04T15:39:49Z</dcterms:modified>
</cp:coreProperties>
</file>